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Lst>
  <p:notesMasterIdLst>
    <p:notesMasterId r:id="rId6"/>
  </p:notesMasterIdLst>
  <p:handoutMasterIdLst>
    <p:handoutMasterId r:id="rId7"/>
  </p:handoutMasterIdLst>
  <p:sldIdLst>
    <p:sldId id="5207" r:id="rId5"/>
  </p:sldIdLst>
  <p:sldSz cx="12192000" cy="6858000"/>
  <p:notesSz cx="6805613" cy="9939338"/>
  <p:custDataLst>
    <p:tags r:id="rId8"/>
  </p:custDataLst>
  <p:defaultTextStyle>
    <a:defPPr>
      <a:defRPr lang="de-DE"/>
    </a:defPPr>
    <a:lvl1pPr marL="0" algn="l" defTabSz="1088239" rtl="0" eaLnBrk="1" latinLnBrk="0" hangingPunct="1">
      <a:defRPr sz="2133" kern="1200">
        <a:solidFill>
          <a:schemeClr val="tx1"/>
        </a:solidFill>
        <a:latin typeface="+mn-lt"/>
        <a:ea typeface="+mn-ea"/>
        <a:cs typeface="+mn-cs"/>
      </a:defRPr>
    </a:lvl1pPr>
    <a:lvl2pPr marL="544120" algn="l" defTabSz="1088239" rtl="0" eaLnBrk="1" latinLnBrk="0" hangingPunct="1">
      <a:defRPr sz="2133" kern="1200">
        <a:solidFill>
          <a:schemeClr val="tx1"/>
        </a:solidFill>
        <a:latin typeface="+mn-lt"/>
        <a:ea typeface="+mn-ea"/>
        <a:cs typeface="+mn-cs"/>
      </a:defRPr>
    </a:lvl2pPr>
    <a:lvl3pPr marL="1088239" algn="l" defTabSz="1088239" rtl="0" eaLnBrk="1" latinLnBrk="0" hangingPunct="1">
      <a:defRPr sz="2133" kern="1200">
        <a:solidFill>
          <a:schemeClr val="tx1"/>
        </a:solidFill>
        <a:latin typeface="+mn-lt"/>
        <a:ea typeface="+mn-ea"/>
        <a:cs typeface="+mn-cs"/>
      </a:defRPr>
    </a:lvl3pPr>
    <a:lvl4pPr marL="1632358" algn="l" defTabSz="1088239" rtl="0" eaLnBrk="1" latinLnBrk="0" hangingPunct="1">
      <a:defRPr sz="2133" kern="1200">
        <a:solidFill>
          <a:schemeClr val="tx1"/>
        </a:solidFill>
        <a:latin typeface="+mn-lt"/>
        <a:ea typeface="+mn-ea"/>
        <a:cs typeface="+mn-cs"/>
      </a:defRPr>
    </a:lvl4pPr>
    <a:lvl5pPr marL="2176476" algn="l" defTabSz="1088239" rtl="0" eaLnBrk="1" latinLnBrk="0" hangingPunct="1">
      <a:defRPr sz="2133" kern="1200">
        <a:solidFill>
          <a:schemeClr val="tx1"/>
        </a:solidFill>
        <a:latin typeface="+mn-lt"/>
        <a:ea typeface="+mn-ea"/>
        <a:cs typeface="+mn-cs"/>
      </a:defRPr>
    </a:lvl5pPr>
    <a:lvl6pPr marL="2720595" algn="l" defTabSz="1088239" rtl="0" eaLnBrk="1" latinLnBrk="0" hangingPunct="1">
      <a:defRPr sz="2133" kern="1200">
        <a:solidFill>
          <a:schemeClr val="tx1"/>
        </a:solidFill>
        <a:latin typeface="+mn-lt"/>
        <a:ea typeface="+mn-ea"/>
        <a:cs typeface="+mn-cs"/>
      </a:defRPr>
    </a:lvl6pPr>
    <a:lvl7pPr marL="3264713" algn="l" defTabSz="1088239" rtl="0" eaLnBrk="1" latinLnBrk="0" hangingPunct="1">
      <a:defRPr sz="2133" kern="1200">
        <a:solidFill>
          <a:schemeClr val="tx1"/>
        </a:solidFill>
        <a:latin typeface="+mn-lt"/>
        <a:ea typeface="+mn-ea"/>
        <a:cs typeface="+mn-cs"/>
      </a:defRPr>
    </a:lvl7pPr>
    <a:lvl8pPr marL="3808833" algn="l" defTabSz="1088239" rtl="0" eaLnBrk="1" latinLnBrk="0" hangingPunct="1">
      <a:defRPr sz="2133" kern="1200">
        <a:solidFill>
          <a:schemeClr val="tx1"/>
        </a:solidFill>
        <a:latin typeface="+mn-lt"/>
        <a:ea typeface="+mn-ea"/>
        <a:cs typeface="+mn-cs"/>
      </a:defRPr>
    </a:lvl8pPr>
    <a:lvl9pPr marL="4352953" algn="l" defTabSz="1088239"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16" userDrawn="1">
          <p15:clr>
            <a:srgbClr val="A4A3A4"/>
          </p15:clr>
        </p15:guide>
        <p15:guide id="2" pos="3200"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Williams" initials="DBW" lastIdx="3" clrIdx="0"/>
  <p:cmAuthor id="1" name="Ezlakowski, Mat" initials="EM" lastIdx="1" clrIdx="1">
    <p:extLst>
      <p:ext uri="{19B8F6BF-5375-455C-9EA6-DF929625EA0E}">
        <p15:presenceInfo xmlns:p15="http://schemas.microsoft.com/office/powerpoint/2012/main" userId="S-1-5-21-1531082355-734649621-3782574898-1605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D1D0"/>
    <a:srgbClr val="15636B"/>
    <a:srgbClr val="8EC63E"/>
    <a:srgbClr val="300B48"/>
    <a:srgbClr val="EDEDED"/>
    <a:srgbClr val="691E7C"/>
    <a:srgbClr val="F9BE01"/>
    <a:srgbClr val="981E32"/>
    <a:srgbClr val="AF1C63"/>
    <a:srgbClr val="EE771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0DD77E-C915-4900-82D9-0B3C4B8EB3B9}" v="9" dt="2020-04-01T20:33:52.5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008" autoAdjust="0"/>
    <p:restoredTop sz="94621" autoAdjust="0"/>
  </p:normalViewPr>
  <p:slideViewPr>
    <p:cSldViewPr snapToGrid="0" snapToObjects="1">
      <p:cViewPr>
        <p:scale>
          <a:sx n="66" d="100"/>
          <a:sy n="66" d="100"/>
        </p:scale>
        <p:origin x="1012" y="32"/>
      </p:cViewPr>
      <p:guideLst>
        <p:guide orient="horz" pos="4016"/>
        <p:guide pos="3200"/>
      </p:guideLst>
    </p:cSldViewPr>
  </p:slideViewPr>
  <p:notesTextViewPr>
    <p:cViewPr>
      <p:scale>
        <a:sx n="100" d="100"/>
        <a:sy n="100" d="100"/>
      </p:scale>
      <p:origin x="0" y="0"/>
    </p:cViewPr>
  </p:notesTextViewPr>
  <p:sorterViewPr>
    <p:cViewPr>
      <p:scale>
        <a:sx n="47" d="100"/>
        <a:sy n="47" d="100"/>
      </p:scale>
      <p:origin x="0" y="0"/>
    </p:cViewPr>
  </p:sorterViewPr>
  <p:notesViewPr>
    <p:cSldViewPr snapToGrid="0" snapToObjects="1">
      <p:cViewPr varScale="1">
        <p:scale>
          <a:sx n="71" d="100"/>
          <a:sy n="71" d="100"/>
        </p:scale>
        <p:origin x="-3372" y="-12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805613" cy="496427"/>
          </a:xfrm>
          <a:prstGeom prst="rect">
            <a:avLst/>
          </a:prstGeom>
        </p:spPr>
        <p:txBody>
          <a:bodyPr vert="horz" lIns="34774" tIns="34774" rIns="243416" bIns="3477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441369"/>
            <a:ext cx="2949302" cy="496427"/>
          </a:xfrm>
          <a:prstGeom prst="rect">
            <a:avLst/>
          </a:prstGeom>
        </p:spPr>
        <p:txBody>
          <a:bodyPr vert="horz" lIns="88325" tIns="44162" rIns="88325" bIns="44162"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4790" y="9441369"/>
            <a:ext cx="2949302" cy="496427"/>
          </a:xfrm>
          <a:prstGeom prst="rect">
            <a:avLst/>
          </a:prstGeom>
        </p:spPr>
        <p:txBody>
          <a:bodyPr vert="horz" lIns="88325" tIns="44162" rIns="88325" bIns="44162"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7733540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5674" tIns="47837" rIns="95674" bIns="47837" rtlCol="0"/>
          <a:lstStyle>
            <a:lvl1pPr algn="l">
              <a:defRPr sz="1300"/>
            </a:lvl1pPr>
          </a:lstStyle>
          <a:p>
            <a:endParaRPr lang="en-US"/>
          </a:p>
        </p:txBody>
      </p:sp>
      <p:sp>
        <p:nvSpPr>
          <p:cNvPr id="3" name="Date Placeholder 2"/>
          <p:cNvSpPr>
            <a:spLocks noGrp="1"/>
          </p:cNvSpPr>
          <p:nvPr>
            <p:ph type="dt" idx="1"/>
          </p:nvPr>
        </p:nvSpPr>
        <p:spPr>
          <a:xfrm>
            <a:off x="3854940" y="1"/>
            <a:ext cx="2949099" cy="496967"/>
          </a:xfrm>
          <a:prstGeom prst="rect">
            <a:avLst/>
          </a:prstGeom>
        </p:spPr>
        <p:txBody>
          <a:bodyPr vert="horz" lIns="95674" tIns="47837" rIns="95674" bIns="47837" rtlCol="0"/>
          <a:lstStyle>
            <a:lvl1pPr algn="r">
              <a:defRPr sz="1300"/>
            </a:lvl1pPr>
          </a:lstStyle>
          <a:p>
            <a:fld id="{2FB4FF29-EE9A-4D47-9F1A-289A80693C0F}" type="datetimeFigureOut">
              <a:rPr lang="en-US" smtClean="0"/>
              <a:pPr/>
              <a:t>9/30/2022</a:t>
            </a:fld>
            <a:endParaRPr lang="en-US"/>
          </a:p>
        </p:txBody>
      </p:sp>
      <p:sp>
        <p:nvSpPr>
          <p:cNvPr id="4" name="Slide Image Placeholder 3"/>
          <p:cNvSpPr>
            <a:spLocks noGrp="1" noRot="1" noChangeAspect="1"/>
          </p:cNvSpPr>
          <p:nvPr>
            <p:ph type="sldImg" idx="2"/>
          </p:nvPr>
        </p:nvSpPr>
        <p:spPr>
          <a:xfrm>
            <a:off x="92075" y="746125"/>
            <a:ext cx="6621463" cy="3725863"/>
          </a:xfrm>
          <a:prstGeom prst="rect">
            <a:avLst/>
          </a:prstGeom>
          <a:noFill/>
          <a:ln w="12700">
            <a:solidFill>
              <a:prstClr val="black"/>
            </a:solidFill>
          </a:ln>
        </p:spPr>
        <p:txBody>
          <a:bodyPr vert="horz" lIns="95674" tIns="47837" rIns="95674" bIns="47837" rtlCol="0" anchor="ctr"/>
          <a:lstStyle/>
          <a:p>
            <a:endParaRPr lang="de-DE"/>
          </a:p>
        </p:txBody>
      </p:sp>
      <p:sp>
        <p:nvSpPr>
          <p:cNvPr id="5" name="Notes Placeholder 4"/>
          <p:cNvSpPr>
            <a:spLocks noGrp="1"/>
          </p:cNvSpPr>
          <p:nvPr>
            <p:ph type="body" sz="quarter" idx="3"/>
          </p:nvPr>
        </p:nvSpPr>
        <p:spPr>
          <a:xfrm>
            <a:off x="680562" y="4721185"/>
            <a:ext cx="5444490" cy="4472703"/>
          </a:xfrm>
          <a:prstGeom prst="rect">
            <a:avLst/>
          </a:prstGeom>
        </p:spPr>
        <p:txBody>
          <a:bodyPr vert="horz" lIns="95674" tIns="47837" rIns="95674" bIns="4783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6967"/>
          </a:xfrm>
          <a:prstGeom prst="rect">
            <a:avLst/>
          </a:prstGeom>
        </p:spPr>
        <p:txBody>
          <a:bodyPr vert="horz" lIns="95674" tIns="47837" rIns="95674" bIns="47837" rtlCol="0" anchor="b"/>
          <a:lstStyle>
            <a:lvl1pPr algn="l">
              <a:defRPr sz="1300"/>
            </a:lvl1pPr>
          </a:lstStyle>
          <a:p>
            <a:endParaRPr lang="en-US"/>
          </a:p>
        </p:txBody>
      </p:sp>
      <p:sp>
        <p:nvSpPr>
          <p:cNvPr id="7" name="Slide Number Placeholder 6"/>
          <p:cNvSpPr>
            <a:spLocks noGrp="1"/>
          </p:cNvSpPr>
          <p:nvPr>
            <p:ph type="sldNum" sz="quarter" idx="5"/>
          </p:nvPr>
        </p:nvSpPr>
        <p:spPr>
          <a:xfrm>
            <a:off x="3854940" y="9440647"/>
            <a:ext cx="2949099" cy="496967"/>
          </a:xfrm>
          <a:prstGeom prst="rect">
            <a:avLst/>
          </a:prstGeom>
        </p:spPr>
        <p:txBody>
          <a:bodyPr vert="horz" lIns="95674" tIns="47837" rIns="95674" bIns="47837"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623213213"/>
      </p:ext>
    </p:extLst>
  </p:cSld>
  <p:clrMap bg1="lt1" tx1="dk1" bg2="lt2" tx2="dk2" accent1="accent1" accent2="accent2" accent3="accent3" accent4="accent4" accent5="accent5" accent6="accent6" hlink="hlink" folHlink="folHlink"/>
  <p:notesStyle>
    <a:lvl1pPr marL="0" algn="l" defTabSz="1038910" rtl="0" eaLnBrk="1" latinLnBrk="0" hangingPunct="1">
      <a:defRPr sz="1333" kern="1200">
        <a:solidFill>
          <a:schemeClr val="tx1"/>
        </a:solidFill>
        <a:latin typeface="+mn-lt"/>
        <a:ea typeface="+mn-ea"/>
        <a:cs typeface="+mn-cs"/>
      </a:defRPr>
    </a:lvl1pPr>
    <a:lvl2pPr marL="519455" algn="l" defTabSz="1038910" rtl="0" eaLnBrk="1" latinLnBrk="0" hangingPunct="1">
      <a:defRPr sz="1333" kern="1200">
        <a:solidFill>
          <a:schemeClr val="tx1"/>
        </a:solidFill>
        <a:latin typeface="+mn-lt"/>
        <a:ea typeface="+mn-ea"/>
        <a:cs typeface="+mn-cs"/>
      </a:defRPr>
    </a:lvl2pPr>
    <a:lvl3pPr marL="1038910" algn="l" defTabSz="1038910" rtl="0" eaLnBrk="1" latinLnBrk="0" hangingPunct="1">
      <a:defRPr sz="1333" kern="1200">
        <a:solidFill>
          <a:schemeClr val="tx1"/>
        </a:solidFill>
        <a:latin typeface="+mn-lt"/>
        <a:ea typeface="+mn-ea"/>
        <a:cs typeface="+mn-cs"/>
      </a:defRPr>
    </a:lvl3pPr>
    <a:lvl4pPr marL="1558365" algn="l" defTabSz="1038910" rtl="0" eaLnBrk="1" latinLnBrk="0" hangingPunct="1">
      <a:defRPr sz="1333" kern="1200">
        <a:solidFill>
          <a:schemeClr val="tx1"/>
        </a:solidFill>
        <a:latin typeface="+mn-lt"/>
        <a:ea typeface="+mn-ea"/>
        <a:cs typeface="+mn-cs"/>
      </a:defRPr>
    </a:lvl4pPr>
    <a:lvl5pPr marL="2077821" algn="l" defTabSz="1038910" rtl="0" eaLnBrk="1" latinLnBrk="0" hangingPunct="1">
      <a:defRPr sz="1333" kern="1200">
        <a:solidFill>
          <a:schemeClr val="tx1"/>
        </a:solidFill>
        <a:latin typeface="+mn-lt"/>
        <a:ea typeface="+mn-ea"/>
        <a:cs typeface="+mn-cs"/>
      </a:defRPr>
    </a:lvl5pPr>
    <a:lvl6pPr marL="2597276" algn="l" defTabSz="1038910" rtl="0" eaLnBrk="1" latinLnBrk="0" hangingPunct="1">
      <a:defRPr sz="1333" kern="1200">
        <a:solidFill>
          <a:schemeClr val="tx1"/>
        </a:solidFill>
        <a:latin typeface="+mn-lt"/>
        <a:ea typeface="+mn-ea"/>
        <a:cs typeface="+mn-cs"/>
      </a:defRPr>
    </a:lvl6pPr>
    <a:lvl7pPr marL="3116731" algn="l" defTabSz="1038910" rtl="0" eaLnBrk="1" latinLnBrk="0" hangingPunct="1">
      <a:defRPr sz="1333" kern="1200">
        <a:solidFill>
          <a:schemeClr val="tx1"/>
        </a:solidFill>
        <a:latin typeface="+mn-lt"/>
        <a:ea typeface="+mn-ea"/>
        <a:cs typeface="+mn-cs"/>
      </a:defRPr>
    </a:lvl7pPr>
    <a:lvl8pPr marL="3636188" algn="l" defTabSz="1038910" rtl="0" eaLnBrk="1" latinLnBrk="0" hangingPunct="1">
      <a:defRPr sz="1333" kern="1200">
        <a:solidFill>
          <a:schemeClr val="tx1"/>
        </a:solidFill>
        <a:latin typeface="+mn-lt"/>
        <a:ea typeface="+mn-ea"/>
        <a:cs typeface="+mn-cs"/>
      </a:defRPr>
    </a:lvl8pPr>
    <a:lvl9pPr marL="4155643" algn="l" defTabSz="1038910" rtl="0" eaLnBrk="1" latinLnBrk="0" hangingPunct="1">
      <a:defRPr sz="1333"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14.png"/><Relationship Id="rId2" Type="http://schemas.openxmlformats.org/officeDocument/2006/relationships/tags" Target="../tags/tag15.xml"/><Relationship Id="rId16" Type="http://schemas.openxmlformats.org/officeDocument/2006/relationships/image" Target="../media/image13.png"/><Relationship Id="rId1" Type="http://schemas.openxmlformats.org/officeDocument/2006/relationships/vmlDrawing" Target="../drawings/vmlDrawing6.vml"/><Relationship Id="rId6" Type="http://schemas.openxmlformats.org/officeDocument/2006/relationships/hyperlink" Target="http://www.capgemini.com/about/how-we-work/rightshorer"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oleObject" Target="../embeddings/oleObject6.bin"/><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rgbClr val="EDEDED"/>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A56FB28E-8C46-40B4-89C2-B1F7259B1685}"/>
              </a:ext>
            </a:extLst>
          </p:cNvPr>
          <p:cNvSpPr/>
          <p:nvPr userDrawn="1"/>
        </p:nvSpPr>
        <p:spPr>
          <a:xfrm rot="16200000" flipV="1">
            <a:off x="-115812" y="888805"/>
            <a:ext cx="6059903" cy="5878177"/>
          </a:xfrm>
          <a:custGeom>
            <a:avLst/>
            <a:gdLst>
              <a:gd name="connsiteX0" fmla="*/ 6059665 w 6059903"/>
              <a:gd name="connsiteY0" fmla="*/ 2571590 h 5878177"/>
              <a:gd name="connsiteX1" fmla="*/ 5272828 w 6059903"/>
              <a:gd name="connsiteY1" fmla="*/ 197016 h 5878177"/>
              <a:gd name="connsiteX2" fmla="*/ 437222 w 6059903"/>
              <a:gd name="connsiteY2" fmla="*/ 1974819 h 5878177"/>
              <a:gd name="connsiteX3" fmla="*/ 14081 w 6059903"/>
              <a:gd name="connsiteY3" fmla="*/ 1161438 h 5878177"/>
              <a:gd name="connsiteX4" fmla="*/ 4172 w 6059903"/>
              <a:gd name="connsiteY4" fmla="*/ 4734764 h 5878177"/>
              <a:gd name="connsiteX5" fmla="*/ 0 w 6059903"/>
              <a:gd name="connsiteY5" fmla="*/ 5878177 h 5878177"/>
              <a:gd name="connsiteX6" fmla="*/ 5378813 w 6059903"/>
              <a:gd name="connsiteY6" fmla="*/ 5878177 h 5878177"/>
              <a:gd name="connsiteX7" fmla="*/ 5406604 w 6059903"/>
              <a:gd name="connsiteY7" fmla="*/ 5819952 h 5878177"/>
              <a:gd name="connsiteX8" fmla="*/ 6059665 w 6059903"/>
              <a:gd name="connsiteY8" fmla="*/ 2571590 h 5878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9903" h="5878177">
                <a:moveTo>
                  <a:pt x="6059665" y="2571590"/>
                </a:moveTo>
                <a:cubicBezTo>
                  <a:pt x="6067896" y="1570518"/>
                  <a:pt x="5864170" y="643684"/>
                  <a:pt x="5272828" y="197016"/>
                </a:cubicBezTo>
                <a:cubicBezTo>
                  <a:pt x="3921189" y="-823938"/>
                  <a:pt x="1766914" y="2480440"/>
                  <a:pt x="437222" y="1974819"/>
                </a:cubicBezTo>
                <a:lnTo>
                  <a:pt x="14081" y="1161438"/>
                </a:lnTo>
                <a:cubicBezTo>
                  <a:pt x="8477" y="2340100"/>
                  <a:pt x="7475" y="3543655"/>
                  <a:pt x="4172" y="4734764"/>
                </a:cubicBezTo>
                <a:lnTo>
                  <a:pt x="0" y="5878177"/>
                </a:lnTo>
                <a:lnTo>
                  <a:pt x="5378813" y="5878177"/>
                </a:lnTo>
                <a:lnTo>
                  <a:pt x="5406604" y="5819952"/>
                </a:lnTo>
                <a:cubicBezTo>
                  <a:pt x="5727147" y="5112229"/>
                  <a:pt x="6049670" y="3787177"/>
                  <a:pt x="6059665" y="2571590"/>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sp>
        <p:nvSpPr>
          <p:cNvPr id="17"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5339024" y="2075875"/>
            <a:ext cx="6582043" cy="1159933"/>
          </a:xfrm>
        </p:spPr>
        <p:txBody>
          <a:bodyPr lIns="0" tIns="0" rIns="0" bIns="0" anchor="b">
            <a:normAutofit/>
          </a:bodyPr>
          <a:lstStyle>
            <a:lvl1pPr marL="0" indent="0" algn="r">
              <a:lnSpc>
                <a:spcPct val="100000"/>
              </a:lnSpc>
              <a:buNone/>
              <a:defRPr sz="36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defRPr sz="2400">
                <a:solidFill>
                  <a:schemeClr val="bg1"/>
                </a:solidFill>
              </a:defRPr>
            </a:lvl2pPr>
          </a:lstStyle>
          <a:p>
            <a:pPr lvl="0"/>
            <a:r>
              <a:rPr lang="en-US" dirty="0"/>
              <a:t>Click to insert title</a:t>
            </a:r>
            <a:endParaRPr lang="pt-PT" dirty="0"/>
          </a:p>
        </p:txBody>
      </p:sp>
      <p:sp>
        <p:nvSpPr>
          <p:cNvPr id="19"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6355364" y="3389157"/>
            <a:ext cx="5565704" cy="1595120"/>
          </a:xfrm>
        </p:spPr>
        <p:txBody>
          <a:bodyPr lIns="0" tIns="0" rIns="0" bIns="0">
            <a:normAutofit/>
          </a:bodyPr>
          <a:lstStyle>
            <a:lvl1pPr marL="0" indent="0" algn="r">
              <a:lnSpc>
                <a:spcPct val="100000"/>
              </a:lnSpc>
              <a:buNone/>
              <a:defRPr sz="200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a:defRPr sz="1600">
                <a:solidFill>
                  <a:schemeClr val="bg1"/>
                </a:solidFill>
              </a:defRPr>
            </a:lvl2pPr>
          </a:lstStyle>
          <a:p>
            <a:pPr lvl="0"/>
            <a:r>
              <a:rPr lang="en-US" dirty="0"/>
              <a:t>Click to insert presenter, location, and date</a:t>
            </a:r>
            <a:endParaRPr lang="pt-PT" dirty="0"/>
          </a:p>
        </p:txBody>
      </p:sp>
      <p:graphicFrame>
        <p:nvGraphicFramePr>
          <p:cNvPr id="5" name="Object 4" hidden="1"/>
          <p:cNvGraphicFramePr>
            <a:graphicFrameLocks noChangeAspect="1"/>
          </p:cNvGraphicFramePr>
          <p:nvPr userDrawn="1">
            <p:custDataLst>
              <p:tags r:id="rId2"/>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2060"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2">
            <a:extLst>
              <a:ext uri="{FF2B5EF4-FFF2-40B4-BE49-F238E27FC236}">
                <a16:creationId xmlns:a16="http://schemas.microsoft.com/office/drawing/2014/main" id="{B88855F1-6984-4EEE-952B-BF33A1FBD9B8}"/>
              </a:ext>
            </a:extLst>
          </p:cNvPr>
          <p:cNvGrpSpPr/>
          <p:nvPr userDrawn="1"/>
        </p:nvGrpSpPr>
        <p:grpSpPr>
          <a:xfrm>
            <a:off x="6768688" y="539751"/>
            <a:ext cx="4899481" cy="688815"/>
            <a:chOff x="543984" y="539751"/>
            <a:chExt cx="4899481" cy="688815"/>
          </a:xfrm>
        </p:grpSpPr>
        <p:pic>
          <p:nvPicPr>
            <p:cNvPr id="2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43984" y="539751"/>
              <a:ext cx="3087429" cy="688815"/>
            </a:xfrm>
            <a:prstGeom prst="rect">
              <a:avLst/>
            </a:prstGeom>
          </p:spPr>
        </p:pic>
        <p:cxnSp>
          <p:nvCxnSpPr>
            <p:cNvPr id="24" name="Straight Connector 23">
              <a:extLst>
                <a:ext uri="{FF2B5EF4-FFF2-40B4-BE49-F238E27FC236}">
                  <a16:creationId xmlns:a16="http://schemas.microsoft.com/office/drawing/2014/main" id="{5222A0BD-3913-47A4-B1C7-47C5D73F6585}"/>
                </a:ext>
              </a:extLst>
            </p:cNvPr>
            <p:cNvCxnSpPr/>
            <p:nvPr userDrawn="1"/>
          </p:nvCxnSpPr>
          <p:spPr>
            <a:xfrm>
              <a:off x="3899145" y="631746"/>
              <a:ext cx="0" cy="504825"/>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5" name="Picture 24" descr="Image result for idemia logo">
              <a:extLst>
                <a:ext uri="{FF2B5EF4-FFF2-40B4-BE49-F238E27FC236}">
                  <a16:creationId xmlns:a16="http://schemas.microsoft.com/office/drawing/2014/main" id="{D6B804BC-8BD8-4A0A-9993-0165C448B32E}"/>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152510" y="638096"/>
              <a:ext cx="1290955" cy="492125"/>
            </a:xfrm>
            <a:prstGeom prst="rect">
              <a:avLst/>
            </a:prstGeom>
            <a:noFill/>
            <a:ln>
              <a:noFill/>
            </a:ln>
          </p:spPr>
        </p:pic>
      </p:grpSp>
      <p:pic>
        <p:nvPicPr>
          <p:cNvPr id="4" name="Picture 3" descr="A picture containing man, player, holding, ball&#10;&#10;Description automatically generated">
            <a:extLst>
              <a:ext uri="{FF2B5EF4-FFF2-40B4-BE49-F238E27FC236}">
                <a16:creationId xmlns:a16="http://schemas.microsoft.com/office/drawing/2014/main" id="{7A8AF2B4-4CCD-40C9-94FA-99AF48027DBE}"/>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l="28884" t="44074" b="1792"/>
          <a:stretch/>
        </p:blipFill>
        <p:spPr>
          <a:xfrm>
            <a:off x="-24950" y="158753"/>
            <a:ext cx="6793638" cy="6692350"/>
          </a:xfrm>
          <a:prstGeom prst="rect">
            <a:avLst/>
          </a:prstGeom>
        </p:spPr>
      </p:pic>
      <p:sp>
        <p:nvSpPr>
          <p:cNvPr id="23" name="Freeform: Shape 22">
            <a:extLst>
              <a:ext uri="{FF2B5EF4-FFF2-40B4-BE49-F238E27FC236}">
                <a16:creationId xmlns:a16="http://schemas.microsoft.com/office/drawing/2014/main" id="{853C5772-8977-44AB-A089-269B00128FAE}"/>
              </a:ext>
            </a:extLst>
          </p:cNvPr>
          <p:cNvSpPr/>
          <p:nvPr userDrawn="1"/>
        </p:nvSpPr>
        <p:spPr>
          <a:xfrm rot="16200000" flipV="1">
            <a:off x="3869577" y="1540350"/>
            <a:ext cx="5257530" cy="5363973"/>
          </a:xfrm>
          <a:custGeom>
            <a:avLst/>
            <a:gdLst>
              <a:gd name="connsiteX0" fmla="*/ 4309684 w 4309684"/>
              <a:gd name="connsiteY0" fmla="*/ 2913233 h 4396937"/>
              <a:gd name="connsiteX1" fmla="*/ 4187122 w 4309684"/>
              <a:gd name="connsiteY1" fmla="*/ 2798990 h 4396937"/>
              <a:gd name="connsiteX2" fmla="*/ 0 w 4309684"/>
              <a:gd name="connsiteY2" fmla="*/ 0 h 4396937"/>
              <a:gd name="connsiteX3" fmla="*/ 4121 w 4309684"/>
              <a:gd name="connsiteY3" fmla="*/ 2447520 h 4396937"/>
              <a:gd name="connsiteX4" fmla="*/ 6225 w 4309684"/>
              <a:gd name="connsiteY4" fmla="*/ 3697325 h 4396937"/>
              <a:gd name="connsiteX5" fmla="*/ 352870 w 4309684"/>
              <a:gd name="connsiteY5" fmla="*/ 4354117 h 4396937"/>
              <a:gd name="connsiteX6" fmla="*/ 4210937 w 4309684"/>
              <a:gd name="connsiteY6" fmla="*/ 2850398 h 439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9684" h="4396937">
                <a:moveTo>
                  <a:pt x="4309684" y="2913233"/>
                </a:moveTo>
                <a:lnTo>
                  <a:pt x="4187122" y="2798990"/>
                </a:lnTo>
                <a:cubicBezTo>
                  <a:pt x="2708713" y="1454782"/>
                  <a:pt x="1438279" y="801382"/>
                  <a:pt x="0" y="0"/>
                </a:cubicBezTo>
                <a:cubicBezTo>
                  <a:pt x="1374" y="817673"/>
                  <a:pt x="2747" y="1632596"/>
                  <a:pt x="4121" y="2447520"/>
                </a:cubicBezTo>
                <a:lnTo>
                  <a:pt x="6225" y="3697325"/>
                </a:lnTo>
                <a:lnTo>
                  <a:pt x="352870" y="4354117"/>
                </a:lnTo>
                <a:cubicBezTo>
                  <a:pt x="1408778" y="4749879"/>
                  <a:pt x="3099027" y="2256649"/>
                  <a:pt x="4210937" y="2850398"/>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spTree>
    <p:extLst>
      <p:ext uri="{BB962C8B-B14F-4D97-AF65-F5344CB8AC3E}">
        <p14:creationId xmlns:p14="http://schemas.microsoft.com/office/powerpoint/2010/main" val="3634453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bg1"/>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D2494518-CA46-4116-AECE-47386BE6AFA4}"/>
              </a:ext>
            </a:extLst>
          </p:cNvPr>
          <p:cNvSpPr>
            <a:spLocks noChangeAspect="1"/>
          </p:cNvSpPr>
          <p:nvPr userDrawn="1"/>
        </p:nvSpPr>
        <p:spPr bwMode="auto">
          <a:xfrm flipH="1">
            <a:off x="1989666" y="0"/>
            <a:ext cx="10202334"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chemeClr val="accent5"/>
          </a:solidFill>
          <a:ln w="9525">
            <a:noFill/>
            <a:round/>
            <a:headEnd/>
            <a:tailEnd/>
          </a:ln>
        </p:spPr>
        <p:txBody>
          <a:bodyPr vert="horz" wrap="square" lIns="68580" tIns="34290" rIns="68580" bIns="34290" numCol="1" anchor="t" anchorCtr="0" compatLnSpc="1">
            <a:prstTxWarp prst="textNoShape">
              <a:avLst/>
            </a:prstTxWarp>
          </a:bodyPr>
          <a:lstStyle/>
          <a:p>
            <a:endParaRPr lang="en-GB" sz="1200"/>
          </a:p>
        </p:txBody>
      </p:sp>
      <p:pic>
        <p:nvPicPr>
          <p:cNvPr id="14"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333051" y="251520"/>
            <a:ext cx="565808" cy="612832"/>
          </a:xfrm>
          <a:prstGeom prst="rect">
            <a:avLst/>
          </a:prstGeom>
        </p:spPr>
      </p:pic>
      <p:sp>
        <p:nvSpPr>
          <p:cNvPr id="15" name="Titre 1"/>
          <p:cNvSpPr>
            <a:spLocks noGrp="1"/>
          </p:cNvSpPr>
          <p:nvPr>
            <p:ph type="title" hasCustomPrompt="1"/>
            <p:custDataLst>
              <p:tags r:id="rId1"/>
            </p:custDataLst>
          </p:nvPr>
        </p:nvSpPr>
        <p:spPr>
          <a:xfrm>
            <a:off x="716280" y="4401831"/>
            <a:ext cx="6121400" cy="1199092"/>
          </a:xfrm>
          <a:prstGeom prst="rect">
            <a:avLst/>
          </a:prstGeom>
        </p:spPr>
        <p:txBody>
          <a:bodyPr vert="horz" lIns="0" tIns="33059" rIns="66118" bIns="33059" rtlCol="0" anchor="ctr" anchorCtr="0">
            <a:noAutofit/>
          </a:bodyPr>
          <a:lstStyle>
            <a:lvl1pPr algn="l" defTabSz="1219092" rtl="0" eaLnBrk="1" latinLnBrk="0" hangingPunct="1">
              <a:spcBef>
                <a:spcPct val="0"/>
              </a:spcBef>
              <a:buNone/>
              <a:defRPr lang="en-US" sz="3600" b="0" kern="1200" cap="none" baseline="0" dirty="0" smtClean="0">
                <a:solidFill>
                  <a:srgbClr val="12ABDB"/>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edit Master </a:t>
            </a:r>
            <a:br>
              <a:rPr lang="en-US" noProof="0" dirty="0"/>
            </a:br>
            <a:r>
              <a:rPr lang="en-US" noProof="0" dirty="0"/>
              <a:t>text style</a:t>
            </a:r>
          </a:p>
        </p:txBody>
      </p:sp>
      <p:sp>
        <p:nvSpPr>
          <p:cNvPr id="16" name="Text Placeholder 5"/>
          <p:cNvSpPr>
            <a:spLocks noGrp="1"/>
          </p:cNvSpPr>
          <p:nvPr>
            <p:ph type="body" sz="quarter" idx="10"/>
          </p:nvPr>
        </p:nvSpPr>
        <p:spPr>
          <a:xfrm>
            <a:off x="716280" y="5706992"/>
            <a:ext cx="6121400" cy="410369"/>
          </a:xfrm>
        </p:spPr>
        <p:txBody>
          <a:bodyPr lIns="0"/>
          <a:lstStyle>
            <a:lvl1pPr marL="0" indent="0" algn="l">
              <a:buNone/>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buNone/>
              <a:defRPr/>
            </a:lvl2pPr>
            <a:lvl3pPr>
              <a:buNone/>
              <a:defRPr/>
            </a:lvl3pPr>
            <a:lvl4pPr>
              <a:buNone/>
              <a:defRPr/>
            </a:lvl4pPr>
            <a:lvl5pPr>
              <a:buNone/>
              <a:defRPr/>
            </a:lvl5pPr>
          </a:lstStyle>
          <a:p>
            <a:pPr lvl="0"/>
            <a:r>
              <a:rPr lang="en-US" dirty="0"/>
              <a:t>Click to edit Master text styles</a:t>
            </a:r>
          </a:p>
        </p:txBody>
      </p:sp>
      <p:pic>
        <p:nvPicPr>
          <p:cNvPr id="8" name="Picture 7">
            <a:extLst>
              <a:ext uri="{FF2B5EF4-FFF2-40B4-BE49-F238E27FC236}">
                <a16:creationId xmlns:a16="http://schemas.microsoft.com/office/drawing/2014/main" id="{1F0EA9E4-808D-4014-8AA1-B0D3A89C62D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736753" y="883402"/>
            <a:ext cx="2932430" cy="5974598"/>
          </a:xfrm>
          <a:prstGeom prst="rect">
            <a:avLst/>
          </a:prstGeom>
        </p:spPr>
      </p:pic>
    </p:spTree>
    <p:extLst>
      <p:ext uri="{BB962C8B-B14F-4D97-AF65-F5344CB8AC3E}">
        <p14:creationId xmlns:p14="http://schemas.microsoft.com/office/powerpoint/2010/main" val="1281594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308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Vide">
    <p:bg>
      <p:bgPr>
        <a:solidFill>
          <a:srgbClr val="EDEDE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410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384031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513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6"/>
            <a:ext cx="11793979" cy="4643751"/>
          </a:xfrm>
        </p:spPr>
        <p:txBody>
          <a:bodyPr/>
          <a:lstStyle>
            <a:lvl1pPr>
              <a:buClr>
                <a:schemeClr val="accent2"/>
              </a:buClr>
              <a:defRPr b="0"/>
            </a:lvl1pPr>
            <a:lvl2pPr marL="533387" indent="-205312">
              <a:buFont typeface="Arial" panose="020B0604020202020204" pitchFamily="34" charset="0"/>
              <a:buChar char="̶"/>
              <a:defRPr/>
            </a:lvl2pPr>
            <a:lvl3pPr marL="761981" indent="-186262">
              <a:defRPr/>
            </a:lvl3pPr>
            <a:lvl4pPr marL="990575" indent="-186262">
              <a:buFont typeface="Courier New" panose="02070309020205020404" pitchFamily="49" charset="0"/>
              <a:buChar char="o"/>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3133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Vide">
    <p:bg>
      <p:bgPr>
        <a:solidFill>
          <a:srgbClr val="EDEDED"/>
        </a:solidFill>
        <a:effectLst/>
      </p:bgPr>
    </p:bg>
    <p:spTree>
      <p:nvGrpSpPr>
        <p:cNvPr id="1" name=""/>
        <p:cNvGrpSpPr/>
        <p:nvPr/>
      </p:nvGrpSpPr>
      <p:grpSpPr>
        <a:xfrm>
          <a:off x="0" y="0"/>
          <a:ext cx="0" cy="0"/>
          <a:chOff x="0" y="0"/>
          <a:chExt cx="0" cy="0"/>
        </a:xfrm>
      </p:grpSpPr>
      <p:sp>
        <p:nvSpPr>
          <p:cNvPr id="23" name="Rectangle 22"/>
          <p:cNvSpPr/>
          <p:nvPr userDrawn="1"/>
        </p:nvSpPr>
        <p:spPr>
          <a:xfrm>
            <a:off x="1" y="0"/>
            <a:ext cx="175678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err="1">
              <a:solidFill>
                <a:schemeClr val="tx2">
                  <a:lumMod val="50000"/>
                </a:schemeClr>
              </a:solidFill>
            </a:endParaRPr>
          </a:p>
        </p:txBody>
      </p:sp>
      <p:graphicFrame>
        <p:nvGraphicFramePr>
          <p:cNvPr id="2" name="Object 1"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615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6657879" y="2524335"/>
            <a:ext cx="5213580" cy="1953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15.2 billion USD.</a:t>
            </a:r>
          </a:p>
        </p:txBody>
      </p:sp>
      <p:sp>
        <p:nvSpPr>
          <p:cNvPr id="9" name="Rectangle 8"/>
          <p:cNvSpPr/>
          <p:nvPr userDrawn="1"/>
        </p:nvSpPr>
        <p:spPr>
          <a:xfrm>
            <a:off x="6657879" y="2018364"/>
            <a:ext cx="2905099"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b="1" dirty="0">
                <a:solidFill>
                  <a:schemeClr val="tx2"/>
                </a:solidFill>
                <a:latin typeface="Verdana" panose="020B0604030504040204" pitchFamily="34" charset="0"/>
                <a:ea typeface="Verdana" panose="020B0604030504040204" pitchFamily="34" charset="0"/>
                <a:cs typeface="Verdana" panose="020B0604030504040204" pitchFamily="34" charset="0"/>
              </a:rPr>
              <a:t>About Capgemini</a:t>
            </a:r>
          </a:p>
        </p:txBody>
      </p:sp>
      <p:sp>
        <p:nvSpPr>
          <p:cNvPr id="10" name="Rectangle 9"/>
          <p:cNvSpPr/>
          <p:nvPr userDrawn="1"/>
        </p:nvSpPr>
        <p:spPr>
          <a:xfrm>
            <a:off x="6657880" y="4973899"/>
            <a:ext cx="3468945" cy="543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Learn more about us at</a:t>
            </a:r>
          </a:p>
          <a:p>
            <a:pPr algn="just">
              <a:lnSpc>
                <a:spcPts val="1200"/>
              </a:lnSpc>
            </a:pPr>
            <a:r>
              <a:rPr lang="en-US" sz="1867" dirty="0">
                <a:solidFill>
                  <a:schemeClr val="accent2"/>
                </a:solidFill>
                <a:latin typeface="Verdana" panose="020B0604030504040204" pitchFamily="34" charset="0"/>
                <a:ea typeface="Verdana" panose="020B0604030504040204" pitchFamily="34" charset="0"/>
                <a:cs typeface="Verdana" panose="020B0604030504040204" pitchFamily="34" charset="0"/>
              </a:rPr>
              <a:t>www.capgemini.com</a:t>
            </a:r>
          </a:p>
        </p:txBody>
      </p:sp>
      <p:sp>
        <p:nvSpPr>
          <p:cNvPr id="17" name="Rectangle 16"/>
          <p:cNvSpPr/>
          <p:nvPr userDrawn="1"/>
        </p:nvSpPr>
        <p:spPr>
          <a:xfrm>
            <a:off x="6657879" y="6042841"/>
            <a:ext cx="5213580" cy="574260"/>
          </a:xfrm>
          <a:prstGeom prst="rect">
            <a:avLst/>
          </a:prstGeom>
        </p:spPr>
        <p:txBody>
          <a:bodyPr wrap="square" lIns="0" tIns="0" rIns="0" bIns="0" anchor="b" anchorCtr="0">
            <a:spAutoFit/>
          </a:bodyPr>
          <a:lstStyle/>
          <a:p>
            <a:pPr>
              <a:spcAft>
                <a:spcPts val="600"/>
              </a:spcAft>
            </a:pPr>
            <a:r>
              <a:rPr lang="en-US" sz="900" dirty="0">
                <a:latin typeface="Verdana" panose="020B0604030504040204" pitchFamily="34" charset="0"/>
                <a:ea typeface="Verdana" panose="020B0604030504040204" pitchFamily="34" charset="0"/>
                <a:cs typeface="Verdana" panose="020B0604030504040204" pitchFamily="34" charset="0"/>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19" name="Rectangle 18">
            <a:hlinkClick r:id="rId6"/>
          </p:cNvPr>
          <p:cNvSpPr/>
          <p:nvPr userDrawn="1"/>
        </p:nvSpPr>
        <p:spPr>
          <a:xfrm>
            <a:off x="11956319" y="5079045"/>
            <a:ext cx="922387" cy="166328"/>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sz="2400" dirty="0"/>
          </a:p>
        </p:txBody>
      </p:sp>
      <p:sp>
        <p:nvSpPr>
          <p:cNvPr id="4" name="Freeform 5"/>
          <p:cNvSpPr>
            <a:spLocks/>
          </p:cNvSpPr>
          <p:nvPr userDrawn="1"/>
        </p:nvSpPr>
        <p:spPr bwMode="auto">
          <a:xfrm>
            <a:off x="1468502" y="-14553"/>
            <a:ext cx="4422889" cy="6872553"/>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525 w 10000"/>
              <a:gd name="connsiteY4" fmla="*/ 9989 h 10000"/>
              <a:gd name="connsiteX5" fmla="*/ 6152 w 10000"/>
              <a:gd name="connsiteY5" fmla="*/ 4435 h 10000"/>
              <a:gd name="connsiteX6" fmla="*/ 2507 w 10000"/>
              <a:gd name="connsiteY6" fmla="*/ 0 h 10000"/>
              <a:gd name="connsiteX0" fmla="*/ 2507 w 6673"/>
              <a:gd name="connsiteY0" fmla="*/ 0 h 10000"/>
              <a:gd name="connsiteX1" fmla="*/ 0 w 6673"/>
              <a:gd name="connsiteY1" fmla="*/ 0 h 10000"/>
              <a:gd name="connsiteX2" fmla="*/ 0 w 6673"/>
              <a:gd name="connsiteY2" fmla="*/ 10000 h 10000"/>
              <a:gd name="connsiteX3" fmla="*/ 525 w 6673"/>
              <a:gd name="connsiteY3" fmla="*/ 9989 h 10000"/>
              <a:gd name="connsiteX4" fmla="*/ 6152 w 6673"/>
              <a:gd name="connsiteY4" fmla="*/ 4435 h 10000"/>
              <a:gd name="connsiteX5" fmla="*/ 2507 w 6673"/>
              <a:gd name="connsiteY5" fmla="*/ 0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27 w 10000"/>
              <a:gd name="connsiteY5" fmla="*/ 2337 h 10000"/>
              <a:gd name="connsiteX0" fmla="*/ 3757 w 10000"/>
              <a:gd name="connsiteY0" fmla="*/ 0 h 10000"/>
              <a:gd name="connsiteX1" fmla="*/ 0 w 10000"/>
              <a:gd name="connsiteY1" fmla="*/ 0 h 10000"/>
              <a:gd name="connsiteX2" fmla="*/ 0 w 10000"/>
              <a:gd name="connsiteY2" fmla="*/ 10000 h 10000"/>
              <a:gd name="connsiteX3" fmla="*/ 787 w 10000"/>
              <a:gd name="connsiteY3" fmla="*/ 9989 h 10000"/>
              <a:gd name="connsiteX4" fmla="*/ 9219 w 10000"/>
              <a:gd name="connsiteY4" fmla="*/ 4435 h 10000"/>
              <a:gd name="connsiteX5" fmla="*/ 4418 w 10000"/>
              <a:gd name="connsiteY5" fmla="*/ 2310 h 10000"/>
              <a:gd name="connsiteX0" fmla="*/ 0 w 10000"/>
              <a:gd name="connsiteY0" fmla="*/ 0 h 10000"/>
              <a:gd name="connsiteX1" fmla="*/ 0 w 10000"/>
              <a:gd name="connsiteY1" fmla="*/ 10000 h 10000"/>
              <a:gd name="connsiteX2" fmla="*/ 787 w 10000"/>
              <a:gd name="connsiteY2" fmla="*/ 9989 h 10000"/>
              <a:gd name="connsiteX3" fmla="*/ 9219 w 10000"/>
              <a:gd name="connsiteY3" fmla="*/ 4435 h 10000"/>
              <a:gd name="connsiteX4" fmla="*/ 4418 w 10000"/>
              <a:gd name="connsiteY4" fmla="*/ 2310 h 10000"/>
              <a:gd name="connsiteX0" fmla="*/ 1064 w 10002"/>
              <a:gd name="connsiteY0" fmla="*/ 0 h 8342"/>
              <a:gd name="connsiteX1" fmla="*/ 2 w 10002"/>
              <a:gd name="connsiteY1" fmla="*/ 7770 h 8342"/>
              <a:gd name="connsiteX2" fmla="*/ 789 w 10002"/>
              <a:gd name="connsiteY2" fmla="*/ 7759 h 8342"/>
              <a:gd name="connsiteX3" fmla="*/ 9221 w 10002"/>
              <a:gd name="connsiteY3" fmla="*/ 2205 h 8342"/>
              <a:gd name="connsiteX4" fmla="*/ 4420 w 10002"/>
              <a:gd name="connsiteY4" fmla="*/ 80 h 8342"/>
              <a:gd name="connsiteX0" fmla="*/ 1919 w 10028"/>
              <a:gd name="connsiteY0" fmla="*/ 386 h 9869"/>
              <a:gd name="connsiteX1" fmla="*/ 30 w 10028"/>
              <a:gd name="connsiteY1" fmla="*/ 9218 h 9869"/>
              <a:gd name="connsiteX2" fmla="*/ 817 w 10028"/>
              <a:gd name="connsiteY2" fmla="*/ 9205 h 9869"/>
              <a:gd name="connsiteX3" fmla="*/ 9247 w 10028"/>
              <a:gd name="connsiteY3" fmla="*/ 2547 h 9869"/>
              <a:gd name="connsiteX4" fmla="*/ 4447 w 10028"/>
              <a:gd name="connsiteY4" fmla="*/ 0 h 9869"/>
              <a:gd name="connsiteX0" fmla="*/ 1733 w 9993"/>
              <a:gd name="connsiteY0" fmla="*/ 52 h 10024"/>
              <a:gd name="connsiteX1" fmla="*/ 23 w 9993"/>
              <a:gd name="connsiteY1" fmla="*/ 9340 h 10024"/>
              <a:gd name="connsiteX2" fmla="*/ 808 w 9993"/>
              <a:gd name="connsiteY2" fmla="*/ 9327 h 10024"/>
              <a:gd name="connsiteX3" fmla="*/ 9214 w 9993"/>
              <a:gd name="connsiteY3" fmla="*/ 2581 h 10024"/>
              <a:gd name="connsiteX4" fmla="*/ 4428 w 9993"/>
              <a:gd name="connsiteY4" fmla="*/ 0 h 10024"/>
              <a:gd name="connsiteX0" fmla="*/ 1707 w 9999"/>
              <a:gd name="connsiteY0" fmla="*/ 0 h 10005"/>
              <a:gd name="connsiteX1" fmla="*/ 22 w 9999"/>
              <a:gd name="connsiteY1" fmla="*/ 9318 h 10005"/>
              <a:gd name="connsiteX2" fmla="*/ 808 w 9999"/>
              <a:gd name="connsiteY2" fmla="*/ 9305 h 10005"/>
              <a:gd name="connsiteX3" fmla="*/ 9219 w 9999"/>
              <a:gd name="connsiteY3" fmla="*/ 2575 h 10005"/>
              <a:gd name="connsiteX4" fmla="*/ 4430 w 9999"/>
              <a:gd name="connsiteY4" fmla="*/ 0 h 10005"/>
              <a:gd name="connsiteX0" fmla="*/ 1733 w 9999"/>
              <a:gd name="connsiteY0" fmla="*/ 6 h 9999"/>
              <a:gd name="connsiteX1" fmla="*/ 22 w 9999"/>
              <a:gd name="connsiteY1" fmla="*/ 9313 h 9999"/>
              <a:gd name="connsiteX2" fmla="*/ 808 w 9999"/>
              <a:gd name="connsiteY2" fmla="*/ 9300 h 9999"/>
              <a:gd name="connsiteX3" fmla="*/ 9220 w 9999"/>
              <a:gd name="connsiteY3" fmla="*/ 2574 h 9999"/>
              <a:gd name="connsiteX4" fmla="*/ 4430 w 9999"/>
              <a:gd name="connsiteY4" fmla="*/ 0 h 9999"/>
              <a:gd name="connsiteX0" fmla="*/ 1936 w 10008"/>
              <a:gd name="connsiteY0" fmla="*/ 189 h 9986"/>
              <a:gd name="connsiteX1" fmla="*/ 30 w 10008"/>
              <a:gd name="connsiteY1" fmla="*/ 9314 h 9986"/>
              <a:gd name="connsiteX2" fmla="*/ 816 w 10008"/>
              <a:gd name="connsiteY2" fmla="*/ 9301 h 9986"/>
              <a:gd name="connsiteX3" fmla="*/ 9229 w 10008"/>
              <a:gd name="connsiteY3" fmla="*/ 2574 h 9986"/>
              <a:gd name="connsiteX4" fmla="*/ 4438 w 10008"/>
              <a:gd name="connsiteY4" fmla="*/ 0 h 9986"/>
              <a:gd name="connsiteX0" fmla="*/ 1737 w 9993"/>
              <a:gd name="connsiteY0" fmla="*/ 16 h 10013"/>
              <a:gd name="connsiteX1" fmla="*/ 23 w 9993"/>
              <a:gd name="connsiteY1" fmla="*/ 9327 h 10013"/>
              <a:gd name="connsiteX2" fmla="*/ 808 w 9993"/>
              <a:gd name="connsiteY2" fmla="*/ 9314 h 10013"/>
              <a:gd name="connsiteX3" fmla="*/ 9215 w 9993"/>
              <a:gd name="connsiteY3" fmla="*/ 2578 h 10013"/>
              <a:gd name="connsiteX4" fmla="*/ 4427 w 9993"/>
              <a:gd name="connsiteY4" fmla="*/ 0 h 10013"/>
              <a:gd name="connsiteX0" fmla="*/ 1696 w 9341"/>
              <a:gd name="connsiteY0" fmla="*/ 16 h 9780"/>
              <a:gd name="connsiteX1" fmla="*/ 493 w 9341"/>
              <a:gd name="connsiteY1" fmla="*/ 8210 h 9780"/>
              <a:gd name="connsiteX2" fmla="*/ 767 w 9341"/>
              <a:gd name="connsiteY2" fmla="*/ 9302 h 9780"/>
              <a:gd name="connsiteX3" fmla="*/ 9179 w 9341"/>
              <a:gd name="connsiteY3" fmla="*/ 2575 h 9780"/>
              <a:gd name="connsiteX4" fmla="*/ 4388 w 9341"/>
              <a:gd name="connsiteY4" fmla="*/ 0 h 9780"/>
              <a:gd name="connsiteX0" fmla="*/ 1719 w 9903"/>
              <a:gd name="connsiteY0" fmla="*/ 16 h 9917"/>
              <a:gd name="connsiteX1" fmla="*/ 676 w 9903"/>
              <a:gd name="connsiteY1" fmla="*/ 8136 h 9917"/>
              <a:gd name="connsiteX2" fmla="*/ 724 w 9903"/>
              <a:gd name="connsiteY2" fmla="*/ 9511 h 9917"/>
              <a:gd name="connsiteX3" fmla="*/ 9730 w 9903"/>
              <a:gd name="connsiteY3" fmla="*/ 2633 h 9917"/>
              <a:gd name="connsiteX4" fmla="*/ 4601 w 9903"/>
              <a:gd name="connsiteY4" fmla="*/ 0 h 9917"/>
              <a:gd name="connsiteX0" fmla="*/ 1651 w 9914"/>
              <a:gd name="connsiteY0" fmla="*/ 16 h 9811"/>
              <a:gd name="connsiteX1" fmla="*/ 843 w 9914"/>
              <a:gd name="connsiteY1" fmla="*/ 7346 h 9811"/>
              <a:gd name="connsiteX2" fmla="*/ 646 w 9914"/>
              <a:gd name="connsiteY2" fmla="*/ 9591 h 9811"/>
              <a:gd name="connsiteX3" fmla="*/ 9740 w 9914"/>
              <a:gd name="connsiteY3" fmla="*/ 2655 h 9811"/>
              <a:gd name="connsiteX4" fmla="*/ 4561 w 9914"/>
              <a:gd name="connsiteY4" fmla="*/ 0 h 9811"/>
              <a:gd name="connsiteX0" fmla="*/ 1577 w 9910"/>
              <a:gd name="connsiteY0" fmla="*/ 16 h 10001"/>
              <a:gd name="connsiteX1" fmla="*/ 1061 w 9910"/>
              <a:gd name="connsiteY1" fmla="*/ 7495 h 10001"/>
              <a:gd name="connsiteX2" fmla="*/ 564 w 9910"/>
              <a:gd name="connsiteY2" fmla="*/ 9776 h 10001"/>
              <a:gd name="connsiteX3" fmla="*/ 9736 w 9910"/>
              <a:gd name="connsiteY3" fmla="*/ 2706 h 10001"/>
              <a:gd name="connsiteX4" fmla="*/ 4513 w 9910"/>
              <a:gd name="connsiteY4" fmla="*/ 0 h 10001"/>
              <a:gd name="connsiteX0" fmla="*/ 1499 w 9907"/>
              <a:gd name="connsiteY0" fmla="*/ 16 h 9999"/>
              <a:gd name="connsiteX1" fmla="*/ 1351 w 9907"/>
              <a:gd name="connsiteY1" fmla="*/ 7490 h 9999"/>
              <a:gd name="connsiteX2" fmla="*/ 477 w 9907"/>
              <a:gd name="connsiteY2" fmla="*/ 9775 h 9999"/>
              <a:gd name="connsiteX3" fmla="*/ 9732 w 9907"/>
              <a:gd name="connsiteY3" fmla="*/ 2706 h 9999"/>
              <a:gd name="connsiteX4" fmla="*/ 4462 w 9907"/>
              <a:gd name="connsiteY4" fmla="*/ 0 h 9999"/>
              <a:gd name="connsiteX0" fmla="*/ 1457 w 9943"/>
              <a:gd name="connsiteY0" fmla="*/ 16 h 10001"/>
              <a:gd name="connsiteX1" fmla="*/ 1578 w 9943"/>
              <a:gd name="connsiteY1" fmla="*/ 7497 h 10001"/>
              <a:gd name="connsiteX2" fmla="*/ 425 w 9943"/>
              <a:gd name="connsiteY2" fmla="*/ 9776 h 10001"/>
              <a:gd name="connsiteX3" fmla="*/ 9767 w 9943"/>
              <a:gd name="connsiteY3" fmla="*/ 2706 h 10001"/>
              <a:gd name="connsiteX4" fmla="*/ 4448 w 9943"/>
              <a:gd name="connsiteY4" fmla="*/ 0 h 10001"/>
              <a:gd name="connsiteX0" fmla="*/ 1492 w 10028"/>
              <a:gd name="connsiteY0" fmla="*/ 16 h 10024"/>
              <a:gd name="connsiteX1" fmla="*/ 1481 w 10028"/>
              <a:gd name="connsiteY1" fmla="*/ 7635 h 10024"/>
              <a:gd name="connsiteX2" fmla="*/ 454 w 10028"/>
              <a:gd name="connsiteY2" fmla="*/ 9775 h 10024"/>
              <a:gd name="connsiteX3" fmla="*/ 9850 w 10028"/>
              <a:gd name="connsiteY3" fmla="*/ 2706 h 10024"/>
              <a:gd name="connsiteX4" fmla="*/ 4500 w 10028"/>
              <a:gd name="connsiteY4" fmla="*/ 0 h 10024"/>
              <a:gd name="connsiteX0" fmla="*/ 1422 w 9958"/>
              <a:gd name="connsiteY0" fmla="*/ 16 h 9919"/>
              <a:gd name="connsiteX1" fmla="*/ 1411 w 9958"/>
              <a:gd name="connsiteY1" fmla="*/ 7635 h 9919"/>
              <a:gd name="connsiteX2" fmla="*/ 384 w 9958"/>
              <a:gd name="connsiteY2" fmla="*/ 9775 h 9919"/>
              <a:gd name="connsiteX3" fmla="*/ 9780 w 9958"/>
              <a:gd name="connsiteY3" fmla="*/ 2706 h 9919"/>
              <a:gd name="connsiteX4" fmla="*/ 4430 w 9958"/>
              <a:gd name="connsiteY4" fmla="*/ 0 h 9919"/>
              <a:gd name="connsiteX0" fmla="*/ 1428 w 9999"/>
              <a:gd name="connsiteY0" fmla="*/ 16 h 10000"/>
              <a:gd name="connsiteX1" fmla="*/ 1417 w 9999"/>
              <a:gd name="connsiteY1" fmla="*/ 7697 h 10000"/>
              <a:gd name="connsiteX2" fmla="*/ 386 w 9999"/>
              <a:gd name="connsiteY2" fmla="*/ 9855 h 10000"/>
              <a:gd name="connsiteX3" fmla="*/ 9821 w 9999"/>
              <a:gd name="connsiteY3" fmla="*/ 2728 h 10000"/>
              <a:gd name="connsiteX4" fmla="*/ 4449 w 9999"/>
              <a:gd name="connsiteY4" fmla="*/ 0 h 10000"/>
              <a:gd name="connsiteX0" fmla="*/ 1422 w 9994"/>
              <a:gd name="connsiteY0" fmla="*/ 16 h 9999"/>
              <a:gd name="connsiteX1" fmla="*/ 1411 w 9994"/>
              <a:gd name="connsiteY1" fmla="*/ 7697 h 9999"/>
              <a:gd name="connsiteX2" fmla="*/ 380 w 9994"/>
              <a:gd name="connsiteY2" fmla="*/ 9855 h 9999"/>
              <a:gd name="connsiteX3" fmla="*/ 9816 w 9994"/>
              <a:gd name="connsiteY3" fmla="*/ 2728 h 9999"/>
              <a:gd name="connsiteX4" fmla="*/ 4443 w 9994"/>
              <a:gd name="connsiteY4" fmla="*/ 0 h 9999"/>
              <a:gd name="connsiteX0" fmla="*/ 1423 w 9861"/>
              <a:gd name="connsiteY0" fmla="*/ 16 h 10000"/>
              <a:gd name="connsiteX1" fmla="*/ 1412 w 9861"/>
              <a:gd name="connsiteY1" fmla="*/ 7698 h 10000"/>
              <a:gd name="connsiteX2" fmla="*/ 380 w 9861"/>
              <a:gd name="connsiteY2" fmla="*/ 9856 h 10000"/>
              <a:gd name="connsiteX3" fmla="*/ 3862 w 9861"/>
              <a:gd name="connsiteY3" fmla="*/ 7697 h 10000"/>
              <a:gd name="connsiteX4" fmla="*/ 9822 w 9861"/>
              <a:gd name="connsiteY4" fmla="*/ 2728 h 10000"/>
              <a:gd name="connsiteX5" fmla="*/ 4446 w 9861"/>
              <a:gd name="connsiteY5" fmla="*/ 0 h 10000"/>
              <a:gd name="connsiteX0" fmla="*/ 1115 w 9671"/>
              <a:gd name="connsiteY0" fmla="*/ 16 h 9856"/>
              <a:gd name="connsiteX1" fmla="*/ 1104 w 9671"/>
              <a:gd name="connsiteY1" fmla="*/ 7698 h 9856"/>
              <a:gd name="connsiteX2" fmla="*/ 57 w 9671"/>
              <a:gd name="connsiteY2" fmla="*/ 9856 h 9856"/>
              <a:gd name="connsiteX3" fmla="*/ 3585 w 9671"/>
              <a:gd name="connsiteY3" fmla="*/ 7710 h 9856"/>
              <a:gd name="connsiteX4" fmla="*/ 9632 w 9671"/>
              <a:gd name="connsiteY4" fmla="*/ 2728 h 9856"/>
              <a:gd name="connsiteX5" fmla="*/ 4181 w 9671"/>
              <a:gd name="connsiteY5" fmla="*/ 0 h 9856"/>
              <a:gd name="connsiteX0" fmla="*/ 1153 w 10001"/>
              <a:gd name="connsiteY0" fmla="*/ 16 h 10000"/>
              <a:gd name="connsiteX1" fmla="*/ 1142 w 10001"/>
              <a:gd name="connsiteY1" fmla="*/ 7810 h 10000"/>
              <a:gd name="connsiteX2" fmla="*/ 59 w 10001"/>
              <a:gd name="connsiteY2" fmla="*/ 10000 h 10000"/>
              <a:gd name="connsiteX3" fmla="*/ 3707 w 10001"/>
              <a:gd name="connsiteY3" fmla="*/ 7823 h 10000"/>
              <a:gd name="connsiteX4" fmla="*/ 9960 w 10001"/>
              <a:gd name="connsiteY4" fmla="*/ 2768 h 10000"/>
              <a:gd name="connsiteX5" fmla="*/ 4323 w 10001"/>
              <a:gd name="connsiteY5" fmla="*/ 0 h 10000"/>
              <a:gd name="connsiteX0" fmla="*/ 187 w 9035"/>
              <a:gd name="connsiteY0" fmla="*/ 16 h 8627"/>
              <a:gd name="connsiteX1" fmla="*/ 176 w 9035"/>
              <a:gd name="connsiteY1" fmla="*/ 7810 h 8627"/>
              <a:gd name="connsiteX2" fmla="*/ 2741 w 9035"/>
              <a:gd name="connsiteY2" fmla="*/ 7823 h 8627"/>
              <a:gd name="connsiteX3" fmla="*/ 8994 w 9035"/>
              <a:gd name="connsiteY3" fmla="*/ 2768 h 8627"/>
              <a:gd name="connsiteX4" fmla="*/ 3357 w 9035"/>
              <a:gd name="connsiteY4" fmla="*/ 0 h 8627"/>
              <a:gd name="connsiteX0" fmla="*/ 207 w 10000"/>
              <a:gd name="connsiteY0" fmla="*/ 19 h 9728"/>
              <a:gd name="connsiteX1" fmla="*/ 195 w 10000"/>
              <a:gd name="connsiteY1" fmla="*/ 9053 h 9728"/>
              <a:gd name="connsiteX2" fmla="*/ 3034 w 10000"/>
              <a:gd name="connsiteY2" fmla="*/ 9068 h 9728"/>
              <a:gd name="connsiteX3" fmla="*/ 9955 w 10000"/>
              <a:gd name="connsiteY3" fmla="*/ 3209 h 9728"/>
              <a:gd name="connsiteX4" fmla="*/ 3716 w 10000"/>
              <a:gd name="connsiteY4" fmla="*/ 0 h 9728"/>
              <a:gd name="connsiteX0" fmla="*/ 207 w 10000"/>
              <a:gd name="connsiteY0" fmla="*/ 20 h 9323"/>
              <a:gd name="connsiteX1" fmla="*/ 195 w 10000"/>
              <a:gd name="connsiteY1" fmla="*/ 9306 h 9323"/>
              <a:gd name="connsiteX2" fmla="*/ 3034 w 10000"/>
              <a:gd name="connsiteY2" fmla="*/ 9322 h 9323"/>
              <a:gd name="connsiteX3" fmla="*/ 9955 w 10000"/>
              <a:gd name="connsiteY3" fmla="*/ 3299 h 9323"/>
              <a:gd name="connsiteX4" fmla="*/ 3716 w 10000"/>
              <a:gd name="connsiteY4" fmla="*/ 0 h 9323"/>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10000"/>
              <a:gd name="connsiteX1" fmla="*/ 195 w 10000"/>
              <a:gd name="connsiteY1" fmla="*/ 9982 h 10000"/>
              <a:gd name="connsiteX2" fmla="*/ 3034 w 10000"/>
              <a:gd name="connsiteY2" fmla="*/ 9999 h 10000"/>
              <a:gd name="connsiteX3" fmla="*/ 9955 w 10000"/>
              <a:gd name="connsiteY3" fmla="*/ 3539 h 10000"/>
              <a:gd name="connsiteX4" fmla="*/ 3716 w 10000"/>
              <a:gd name="connsiteY4" fmla="*/ 0 h 10000"/>
              <a:gd name="connsiteX0" fmla="*/ 207 w 10000"/>
              <a:gd name="connsiteY0" fmla="*/ 21 h 9999"/>
              <a:gd name="connsiteX1" fmla="*/ 195 w 10000"/>
              <a:gd name="connsiteY1" fmla="*/ 9982 h 9999"/>
              <a:gd name="connsiteX2" fmla="*/ 3034 w 10000"/>
              <a:gd name="connsiteY2" fmla="*/ 9999 h 9999"/>
              <a:gd name="connsiteX3" fmla="*/ 9955 w 10000"/>
              <a:gd name="connsiteY3" fmla="*/ 3539 h 9999"/>
              <a:gd name="connsiteX4" fmla="*/ 3716 w 10000"/>
              <a:gd name="connsiteY4" fmla="*/ 0 h 9999"/>
              <a:gd name="connsiteX0" fmla="*/ 207 w 10000"/>
              <a:gd name="connsiteY0" fmla="*/ 21 h 9988"/>
              <a:gd name="connsiteX1" fmla="*/ 195 w 10000"/>
              <a:gd name="connsiteY1" fmla="*/ 9983 h 9988"/>
              <a:gd name="connsiteX2" fmla="*/ 7054 w 10000"/>
              <a:gd name="connsiteY2" fmla="*/ 9988 h 9988"/>
              <a:gd name="connsiteX3" fmla="*/ 9955 w 10000"/>
              <a:gd name="connsiteY3" fmla="*/ 3539 h 9988"/>
              <a:gd name="connsiteX4" fmla="*/ 3716 w 10000"/>
              <a:gd name="connsiteY4" fmla="*/ 0 h 9988"/>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0624"/>
              <a:gd name="connsiteY0" fmla="*/ 21 h 10000"/>
              <a:gd name="connsiteX1" fmla="*/ 195 w 10624"/>
              <a:gd name="connsiteY1" fmla="*/ 9995 h 10000"/>
              <a:gd name="connsiteX2" fmla="*/ 7054 w 10624"/>
              <a:gd name="connsiteY2" fmla="*/ 10000 h 10000"/>
              <a:gd name="connsiteX3" fmla="*/ 9955 w 10624"/>
              <a:gd name="connsiteY3" fmla="*/ 3543 h 10000"/>
              <a:gd name="connsiteX4" fmla="*/ 3716 w 10624"/>
              <a:gd name="connsiteY4" fmla="*/ 0 h 10000"/>
              <a:gd name="connsiteX0" fmla="*/ 207 w 11005"/>
              <a:gd name="connsiteY0" fmla="*/ 21 h 10000"/>
              <a:gd name="connsiteX1" fmla="*/ 195 w 11005"/>
              <a:gd name="connsiteY1" fmla="*/ 9995 h 10000"/>
              <a:gd name="connsiteX2" fmla="*/ 7054 w 11005"/>
              <a:gd name="connsiteY2" fmla="*/ 10000 h 10000"/>
              <a:gd name="connsiteX3" fmla="*/ 9955 w 11005"/>
              <a:gd name="connsiteY3" fmla="*/ 3543 h 10000"/>
              <a:gd name="connsiteX4" fmla="*/ 3716 w 11005"/>
              <a:gd name="connsiteY4" fmla="*/ 0 h 10000"/>
              <a:gd name="connsiteX0" fmla="*/ 207 w 10944"/>
              <a:gd name="connsiteY0" fmla="*/ 21 h 10000"/>
              <a:gd name="connsiteX1" fmla="*/ 195 w 10944"/>
              <a:gd name="connsiteY1" fmla="*/ 9995 h 10000"/>
              <a:gd name="connsiteX2" fmla="*/ 7054 w 10944"/>
              <a:gd name="connsiteY2" fmla="*/ 10000 h 10000"/>
              <a:gd name="connsiteX3" fmla="*/ 9955 w 10944"/>
              <a:gd name="connsiteY3" fmla="*/ 3543 h 10000"/>
              <a:gd name="connsiteX4" fmla="*/ 3716 w 10944"/>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09"/>
              <a:gd name="connsiteY0" fmla="*/ 21 h 10000"/>
              <a:gd name="connsiteX1" fmla="*/ 195 w 10909"/>
              <a:gd name="connsiteY1" fmla="*/ 9995 h 10000"/>
              <a:gd name="connsiteX2" fmla="*/ 7054 w 10909"/>
              <a:gd name="connsiteY2" fmla="*/ 10000 h 10000"/>
              <a:gd name="connsiteX3" fmla="*/ 9955 w 10909"/>
              <a:gd name="connsiteY3" fmla="*/ 3543 h 10000"/>
              <a:gd name="connsiteX4" fmla="*/ 3716 w 10909"/>
              <a:gd name="connsiteY4" fmla="*/ 0 h 10000"/>
              <a:gd name="connsiteX0" fmla="*/ 207 w 10955"/>
              <a:gd name="connsiteY0" fmla="*/ 21 h 10000"/>
              <a:gd name="connsiteX1" fmla="*/ 195 w 10955"/>
              <a:gd name="connsiteY1" fmla="*/ 9995 h 10000"/>
              <a:gd name="connsiteX2" fmla="*/ 7054 w 10955"/>
              <a:gd name="connsiteY2" fmla="*/ 10000 h 10000"/>
              <a:gd name="connsiteX3" fmla="*/ 9955 w 10955"/>
              <a:gd name="connsiteY3" fmla="*/ 3543 h 10000"/>
              <a:gd name="connsiteX4" fmla="*/ 3716 w 10955"/>
              <a:gd name="connsiteY4" fmla="*/ 0 h 10000"/>
              <a:gd name="connsiteX0" fmla="*/ 198 w 10946"/>
              <a:gd name="connsiteY0" fmla="*/ 21 h 10000"/>
              <a:gd name="connsiteX1" fmla="*/ 186 w 10946"/>
              <a:gd name="connsiteY1" fmla="*/ 9995 h 10000"/>
              <a:gd name="connsiteX2" fmla="*/ 7045 w 10946"/>
              <a:gd name="connsiteY2" fmla="*/ 10000 h 10000"/>
              <a:gd name="connsiteX3" fmla="*/ 9946 w 10946"/>
              <a:gd name="connsiteY3" fmla="*/ 3543 h 10000"/>
              <a:gd name="connsiteX4" fmla="*/ 3707 w 10946"/>
              <a:gd name="connsiteY4" fmla="*/ 0 h 10000"/>
              <a:gd name="connsiteX0" fmla="*/ 12 w 10760"/>
              <a:gd name="connsiteY0" fmla="*/ 21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1927 w 10760"/>
              <a:gd name="connsiteY0" fmla="*/ 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3264 w 10760"/>
              <a:gd name="connsiteY0" fmla="*/ 159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883 w 10760"/>
              <a:gd name="connsiteY0" fmla="*/ 13 h 10000"/>
              <a:gd name="connsiteX1" fmla="*/ 0 w 10760"/>
              <a:gd name="connsiteY1" fmla="*/ 9995 h 10000"/>
              <a:gd name="connsiteX2" fmla="*/ 6859 w 10760"/>
              <a:gd name="connsiteY2" fmla="*/ 10000 h 10000"/>
              <a:gd name="connsiteX3" fmla="*/ 9760 w 10760"/>
              <a:gd name="connsiteY3" fmla="*/ 3543 h 10000"/>
              <a:gd name="connsiteX4" fmla="*/ 3521 w 10760"/>
              <a:gd name="connsiteY4" fmla="*/ 0 h 10000"/>
              <a:gd name="connsiteX0" fmla="*/ 2 w 7879"/>
              <a:gd name="connsiteY0" fmla="*/ 13 h 10000"/>
              <a:gd name="connsiteX1" fmla="*/ 499 w 7879"/>
              <a:gd name="connsiteY1" fmla="*/ 9990 h 10000"/>
              <a:gd name="connsiteX2" fmla="*/ 3978 w 7879"/>
              <a:gd name="connsiteY2" fmla="*/ 10000 h 10000"/>
              <a:gd name="connsiteX3" fmla="*/ 6879 w 7879"/>
              <a:gd name="connsiteY3" fmla="*/ 3543 h 10000"/>
              <a:gd name="connsiteX4" fmla="*/ 640 w 7879"/>
              <a:gd name="connsiteY4" fmla="*/ 0 h 10000"/>
              <a:gd name="connsiteX0" fmla="*/ 16 w 10014"/>
              <a:gd name="connsiteY0" fmla="*/ 13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22 w 10020"/>
              <a:gd name="connsiteY0" fmla="*/ 13 h 10002"/>
              <a:gd name="connsiteX1" fmla="*/ 6 w 10020"/>
              <a:gd name="connsiteY1" fmla="*/ 10002 h 10002"/>
              <a:gd name="connsiteX2" fmla="*/ 5068 w 10020"/>
              <a:gd name="connsiteY2" fmla="*/ 10000 h 10002"/>
              <a:gd name="connsiteX3" fmla="*/ 8750 w 10020"/>
              <a:gd name="connsiteY3" fmla="*/ 3543 h 10002"/>
              <a:gd name="connsiteX4" fmla="*/ 831 w 10020"/>
              <a:gd name="connsiteY4" fmla="*/ 0 h 10002"/>
              <a:gd name="connsiteX0" fmla="*/ 24 w 10019"/>
              <a:gd name="connsiteY0" fmla="*/ 21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5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24 w 10019"/>
              <a:gd name="connsiteY0" fmla="*/ 13 h 10002"/>
              <a:gd name="connsiteX1" fmla="*/ 5 w 10019"/>
              <a:gd name="connsiteY1" fmla="*/ 10002 h 10002"/>
              <a:gd name="connsiteX2" fmla="*/ 5067 w 10019"/>
              <a:gd name="connsiteY2" fmla="*/ 10000 h 10002"/>
              <a:gd name="connsiteX3" fmla="*/ 8749 w 10019"/>
              <a:gd name="connsiteY3" fmla="*/ 3543 h 10002"/>
              <a:gd name="connsiteX4" fmla="*/ 830 w 10019"/>
              <a:gd name="connsiteY4" fmla="*/ 0 h 10002"/>
              <a:gd name="connsiteX0" fmla="*/ 18 w 10027"/>
              <a:gd name="connsiteY0" fmla="*/ 15 h 10002"/>
              <a:gd name="connsiteX1" fmla="*/ 13 w 10027"/>
              <a:gd name="connsiteY1" fmla="*/ 10002 h 10002"/>
              <a:gd name="connsiteX2" fmla="*/ 5075 w 10027"/>
              <a:gd name="connsiteY2" fmla="*/ 10000 h 10002"/>
              <a:gd name="connsiteX3" fmla="*/ 8757 w 10027"/>
              <a:gd name="connsiteY3" fmla="*/ 3543 h 10002"/>
              <a:gd name="connsiteX4" fmla="*/ 838 w 10027"/>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25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10014"/>
              <a:gd name="connsiteY0" fmla="*/ 15 h 10002"/>
              <a:gd name="connsiteX1" fmla="*/ 0 w 10014"/>
              <a:gd name="connsiteY1" fmla="*/ 10002 h 10002"/>
              <a:gd name="connsiteX2" fmla="*/ 5062 w 10014"/>
              <a:gd name="connsiteY2" fmla="*/ 10000 h 10002"/>
              <a:gd name="connsiteX3" fmla="*/ 8744 w 10014"/>
              <a:gd name="connsiteY3" fmla="*/ 3543 h 10002"/>
              <a:gd name="connsiteX4" fmla="*/ 801 w 10014"/>
              <a:gd name="connsiteY4" fmla="*/ 0 h 10002"/>
              <a:gd name="connsiteX0" fmla="*/ 5 w 9975"/>
              <a:gd name="connsiteY0" fmla="*/ 15 h 10002"/>
              <a:gd name="connsiteX1" fmla="*/ 0 w 9975"/>
              <a:gd name="connsiteY1" fmla="*/ 10002 h 10002"/>
              <a:gd name="connsiteX2" fmla="*/ 5062 w 9975"/>
              <a:gd name="connsiteY2" fmla="*/ 10000 h 10002"/>
              <a:gd name="connsiteX3" fmla="*/ 8744 w 9975"/>
              <a:gd name="connsiteY3" fmla="*/ 3543 h 10002"/>
              <a:gd name="connsiteX4" fmla="*/ 801 w 9975"/>
              <a:gd name="connsiteY4" fmla="*/ 0 h 10002"/>
              <a:gd name="connsiteX0" fmla="*/ 5 w 10033"/>
              <a:gd name="connsiteY0" fmla="*/ 15 h 10000"/>
              <a:gd name="connsiteX1" fmla="*/ 0 w 10033"/>
              <a:gd name="connsiteY1" fmla="*/ 10000 h 10000"/>
              <a:gd name="connsiteX2" fmla="*/ 5075 w 10033"/>
              <a:gd name="connsiteY2" fmla="*/ 9998 h 10000"/>
              <a:gd name="connsiteX3" fmla="*/ 8766 w 10033"/>
              <a:gd name="connsiteY3" fmla="*/ 3542 h 10000"/>
              <a:gd name="connsiteX4" fmla="*/ 803 w 10033"/>
              <a:gd name="connsiteY4" fmla="*/ 0 h 10000"/>
              <a:gd name="connsiteX0" fmla="*/ 0 w 10359"/>
              <a:gd name="connsiteY0" fmla="*/ 5 h 10000"/>
              <a:gd name="connsiteX1" fmla="*/ 326 w 10359"/>
              <a:gd name="connsiteY1" fmla="*/ 10000 h 10000"/>
              <a:gd name="connsiteX2" fmla="*/ 5401 w 10359"/>
              <a:gd name="connsiteY2" fmla="*/ 9998 h 10000"/>
              <a:gd name="connsiteX3" fmla="*/ 9092 w 10359"/>
              <a:gd name="connsiteY3" fmla="*/ 3542 h 10000"/>
              <a:gd name="connsiteX4" fmla="*/ 1129 w 10359"/>
              <a:gd name="connsiteY4" fmla="*/ 0 h 10000"/>
              <a:gd name="connsiteX0" fmla="*/ 11 w 10370"/>
              <a:gd name="connsiteY0" fmla="*/ 5 h 9998"/>
              <a:gd name="connsiteX1" fmla="*/ 0 w 10370"/>
              <a:gd name="connsiteY1" fmla="*/ 9983 h 9998"/>
              <a:gd name="connsiteX2" fmla="*/ 5412 w 10370"/>
              <a:gd name="connsiteY2" fmla="*/ 9998 h 9998"/>
              <a:gd name="connsiteX3" fmla="*/ 9103 w 10370"/>
              <a:gd name="connsiteY3" fmla="*/ 3542 h 9998"/>
              <a:gd name="connsiteX4" fmla="*/ 1140 w 10370"/>
              <a:gd name="connsiteY4" fmla="*/ 0 h 9998"/>
              <a:gd name="connsiteX0" fmla="*/ 11 w 10000"/>
              <a:gd name="connsiteY0" fmla="*/ 5 h 10000"/>
              <a:gd name="connsiteX1" fmla="*/ 0 w 10000"/>
              <a:gd name="connsiteY1" fmla="*/ 9995 h 10000"/>
              <a:gd name="connsiteX2" fmla="*/ 5219 w 10000"/>
              <a:gd name="connsiteY2" fmla="*/ 10000 h 10000"/>
              <a:gd name="connsiteX3" fmla="*/ 8778 w 10000"/>
              <a:gd name="connsiteY3" fmla="*/ 3543 h 10000"/>
              <a:gd name="connsiteX4" fmla="*/ 1099 w 10000"/>
              <a:gd name="connsiteY4" fmla="*/ 0 h 10000"/>
              <a:gd name="connsiteX0" fmla="*/ 11 w 10000"/>
              <a:gd name="connsiteY0" fmla="*/ 5 h 10000"/>
              <a:gd name="connsiteX1" fmla="*/ 0 w 10000"/>
              <a:gd name="connsiteY1" fmla="*/ 10000 h 10000"/>
              <a:gd name="connsiteX2" fmla="*/ 5219 w 10000"/>
              <a:gd name="connsiteY2" fmla="*/ 10000 h 10000"/>
              <a:gd name="connsiteX3" fmla="*/ 8778 w 10000"/>
              <a:gd name="connsiteY3" fmla="*/ 3543 h 10000"/>
              <a:gd name="connsiteX4" fmla="*/ 109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1" y="5"/>
                </a:moveTo>
                <a:cubicBezTo>
                  <a:pt x="4" y="653"/>
                  <a:pt x="6" y="9269"/>
                  <a:pt x="0" y="10000"/>
                </a:cubicBezTo>
                <a:lnTo>
                  <a:pt x="5219" y="10000"/>
                </a:lnTo>
                <a:cubicBezTo>
                  <a:pt x="11830" y="6870"/>
                  <a:pt x="10065" y="3822"/>
                  <a:pt x="8778" y="3543"/>
                </a:cubicBezTo>
                <a:cubicBezTo>
                  <a:pt x="9452" y="5694"/>
                  <a:pt x="2995" y="3804"/>
                  <a:pt x="109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sz="2400" dirty="0"/>
          </a:p>
        </p:txBody>
      </p:sp>
      <p:grpSp>
        <p:nvGrpSpPr>
          <p:cNvPr id="5" name="Group 4"/>
          <p:cNvGrpSpPr/>
          <p:nvPr userDrawn="1"/>
        </p:nvGrpSpPr>
        <p:grpSpPr>
          <a:xfrm>
            <a:off x="4938560" y="2397563"/>
            <a:ext cx="721601" cy="682904"/>
            <a:chOff x="5662614" y="3032124"/>
            <a:chExt cx="863600" cy="801689"/>
          </a:xfrm>
        </p:grpSpPr>
        <p:sp>
          <p:nvSpPr>
            <p:cNvPr id="6" name="Freeform 5"/>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 name="Freeform 6"/>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6" name="Rectangle 15"/>
          <p:cNvSpPr/>
          <p:nvPr userDrawn="1"/>
        </p:nvSpPr>
        <p:spPr>
          <a:xfrm>
            <a:off x="803869" y="5063024"/>
            <a:ext cx="4024517" cy="723275"/>
          </a:xfrm>
          <a:prstGeom prst="rect">
            <a:avLst/>
          </a:prstGeom>
        </p:spPr>
        <p:txBody>
          <a:bodyPr wrap="square" lIns="0" tIns="0" rIns="0" bIns="0" anchor="b" anchorCtr="0">
            <a:spAutoFit/>
          </a:bodyPr>
          <a:lstStyle/>
          <a:p>
            <a:pPr>
              <a:spcAft>
                <a:spcPts val="600"/>
              </a:spcAft>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This message contains information that may be privileged or confidential and is the property of the Capgemini Group.</a:t>
            </a:r>
            <a:b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Copyright © 2020 Capgemini. All rights reserved.</a:t>
            </a:r>
          </a:p>
          <a:p>
            <a:pPr marL="0" marR="0" indent="0" defTabSz="957732" rtl="0" eaLnBrk="1" fontAlgn="auto" latinLnBrk="0" hangingPunct="1">
              <a:lnSpc>
                <a:spcPct val="100000"/>
              </a:lnSpc>
              <a:spcBef>
                <a:spcPts val="0"/>
              </a:spcBef>
              <a:spcAft>
                <a:spcPts val="600"/>
              </a:spcAft>
              <a:buClrTx/>
              <a:buSzTx/>
              <a:buFontTx/>
              <a:buNone/>
              <a:tabLst/>
              <a:defRPr/>
            </a:pP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Rightshore</a:t>
            </a:r>
            <a:r>
              <a:rPr lang="en-US" sz="1050" baseline="30000" noProof="0" dirty="0">
                <a:solidFill>
                  <a:schemeClr val="bg1"/>
                </a:solidFill>
                <a:latin typeface="Verdana" panose="020B0604030504040204" pitchFamily="34" charset="0"/>
                <a:ea typeface="Verdana" panose="020B0604030504040204" pitchFamily="34" charset="0"/>
                <a:cs typeface="Verdana" panose="020B0604030504040204" pitchFamily="34" charset="0"/>
              </a:rPr>
              <a:t>®</a:t>
            </a:r>
            <a:r>
              <a:rPr lang="en-US" sz="1050" noProof="0" dirty="0">
                <a:solidFill>
                  <a:schemeClr val="bg1"/>
                </a:solidFill>
                <a:latin typeface="Verdana" panose="020B0604030504040204" pitchFamily="34" charset="0"/>
                <a:ea typeface="Verdana" panose="020B0604030504040204" pitchFamily="34" charset="0"/>
                <a:cs typeface="Verdana" panose="020B0604030504040204" pitchFamily="34" charset="0"/>
              </a:rPr>
              <a:t> is a trademark belonging to Capgemini.</a:t>
            </a:r>
          </a:p>
        </p:txBody>
      </p:sp>
      <p:pic>
        <p:nvPicPr>
          <p:cNvPr id="24"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1237871" y="3450893"/>
            <a:ext cx="436028" cy="444511"/>
          </a:xfrm>
          <a:prstGeom prst="rect">
            <a:avLst/>
          </a:prstGeom>
          <a:noFill/>
        </p:spPr>
      </p:pic>
      <p:pic>
        <p:nvPicPr>
          <p:cNvPr id="25"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739569" y="3450893"/>
            <a:ext cx="436028" cy="444511"/>
          </a:xfrm>
          <a:prstGeom prst="rect">
            <a:avLst/>
          </a:prstGeom>
          <a:noFill/>
        </p:spPr>
      </p:pic>
      <p:pic>
        <p:nvPicPr>
          <p:cNvPr id="26"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2241265" y="3450893"/>
            <a:ext cx="436028" cy="444511"/>
          </a:xfrm>
          <a:prstGeom prst="rect">
            <a:avLst/>
          </a:prstGeom>
          <a:noFill/>
        </p:spPr>
      </p:pic>
      <p:pic>
        <p:nvPicPr>
          <p:cNvPr id="27"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2742961" y="3450893"/>
            <a:ext cx="436028" cy="444511"/>
          </a:xfrm>
          <a:prstGeom prst="rect">
            <a:avLst/>
          </a:prstGeom>
          <a:noFill/>
        </p:spPr>
      </p:pic>
      <p:pic>
        <p:nvPicPr>
          <p:cNvPr id="28"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736173" y="3450893"/>
            <a:ext cx="436028" cy="444511"/>
          </a:xfrm>
          <a:prstGeom prst="rect">
            <a:avLst/>
          </a:prstGeom>
          <a:noFill/>
        </p:spPr>
      </p:pic>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26401" y="4057788"/>
            <a:ext cx="3350504" cy="26816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7180"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555763653"/>
      </p:ext>
    </p:extLst>
  </p:cSld>
  <p:clrMapOvr>
    <a:masterClrMapping/>
  </p:clrMapOvr>
  <p:extLst>
    <p:ext uri="{DCECCB84-F9BA-43D5-87BE-67443E8EF086}">
      <p15:sldGuideLst xmlns:p15="http://schemas.microsoft.com/office/powerpoint/2012/main">
        <p15:guide id="1" orient="horz" pos="688">
          <p15:clr>
            <a:srgbClr val="FBAE40"/>
          </p15:clr>
        </p15:guide>
        <p15:guide id="2" pos="168">
          <p15:clr>
            <a:srgbClr val="FBAE40"/>
          </p15:clr>
        </p15:guide>
        <p15:guide id="3" pos="7464">
          <p15:clr>
            <a:srgbClr val="FBAE40"/>
          </p15:clr>
        </p15:guide>
        <p15:guide id="4" orient="horz" pos="400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image" Target="../media/image4.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1" y="1"/>
          <a:ext cx="195384" cy="158751"/>
        </p:xfrm>
        <a:graphic>
          <a:graphicData uri="http://schemas.openxmlformats.org/presentationml/2006/ole">
            <mc:AlternateContent xmlns:mc="http://schemas.openxmlformats.org/markup-compatibility/2006">
              <mc:Choice xmlns:v="urn:schemas-microsoft-com:vml" Requires="v">
                <p:oleObj spid="_x0000_s1036" name="think-cell Slide" r:id="rId14" imgW="360" imgH="360" progId="">
                  <p:embed/>
                </p:oleObj>
              </mc:Choice>
              <mc:Fallback>
                <p:oleObj name="think-cell Slide" r:id="rId14" imgW="360" imgH="36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1"/>
                        <a:ext cx="195384"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1"/>
            </p:custDataLst>
          </p:nvPr>
        </p:nvSpPr>
        <p:spPr>
          <a:xfrm>
            <a:off x="2" y="1"/>
            <a:ext cx="12191999" cy="1062180"/>
          </a:xfrm>
          <a:prstGeom prst="rect">
            <a:avLst/>
          </a:prstGeom>
        </p:spPr>
        <p:txBody>
          <a:bodyPr vert="horz" lIns="253554" tIns="28173" rIns="140864" bIns="28173" rtlCol="0" anchor="ctr">
            <a:noAutofit/>
          </a:bodyPr>
          <a:lstStyle/>
          <a:p>
            <a:r>
              <a:rPr lang="en-US" noProof="0" dirty="0" err="1"/>
              <a:t>Cliquez</a:t>
            </a:r>
            <a:r>
              <a:rPr lang="en-US" noProof="0" dirty="0"/>
              <a:t> pour modifier le style du </a:t>
            </a:r>
            <a:r>
              <a:rPr lang="en-US" noProof="0" dirty="0" err="1"/>
              <a:t>titre</a:t>
            </a:r>
            <a:endParaRPr lang="en-US" noProof="0" dirty="0"/>
          </a:p>
        </p:txBody>
      </p:sp>
      <p:sp>
        <p:nvSpPr>
          <p:cNvPr id="3" name="Text Placeholder 2"/>
          <p:cNvSpPr>
            <a:spLocks noGrp="1"/>
          </p:cNvSpPr>
          <p:nvPr>
            <p:ph type="body" idx="1"/>
            <p:custDataLst>
              <p:tags r:id="rId12"/>
            </p:custDataLst>
          </p:nvPr>
        </p:nvSpPr>
        <p:spPr>
          <a:xfrm>
            <a:off x="398022" y="1501978"/>
            <a:ext cx="11616153" cy="4636540"/>
          </a:xfrm>
          <a:prstGeom prst="rect">
            <a:avLst/>
          </a:prstGeom>
        </p:spPr>
        <p:txBody>
          <a:bodyPr vert="horz" lIns="92038" tIns="61358" rIns="61358" bIns="61358"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7" name="Line 7"/>
          <p:cNvSpPr>
            <a:spLocks noChangeShapeType="1"/>
          </p:cNvSpPr>
          <p:nvPr userDrawn="1"/>
        </p:nvSpPr>
        <p:spPr bwMode="gray">
          <a:xfrm>
            <a:off x="11588751" y="6450412"/>
            <a:ext cx="0" cy="319616"/>
          </a:xfrm>
          <a:prstGeom prst="line">
            <a:avLst/>
          </a:prstGeom>
          <a:noFill/>
          <a:ln w="9525">
            <a:solidFill>
              <a:srgbClr val="969696"/>
            </a:solidFill>
            <a:round/>
            <a:headEnd/>
            <a:tailEnd/>
          </a:ln>
          <a:effectLst/>
        </p:spPr>
        <p:txBody>
          <a:bodyPr wrap="none" anchor="ctr"/>
          <a:lstStyle/>
          <a:p>
            <a:endParaRPr lang="en-US" sz="2133">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 Box 8"/>
          <p:cNvSpPr txBox="1">
            <a:spLocks noChangeArrowheads="1"/>
          </p:cNvSpPr>
          <p:nvPr userDrawn="1"/>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Verdana" panose="020B0604030504040204" pitchFamily="34" charset="0"/>
                <a:ea typeface="Verdana" panose="020B0604030504040204" pitchFamily="34" charset="0"/>
                <a:cs typeface="Verdana" panose="020B0604030504040204" pitchFamily="34" charset="0"/>
              </a:rPr>
              <a:pPr eaLnBrk="0" hangingPunct="0">
                <a:lnSpc>
                  <a:spcPct val="85000"/>
                </a:lnSpc>
              </a:pPr>
              <a:t>‹#›</a:t>
            </a:fld>
            <a:endParaRPr lang="en-US" sz="933">
              <a:solidFill>
                <a:srgbClr val="969696"/>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 Box 9"/>
          <p:cNvSpPr txBox="1">
            <a:spLocks noChangeArrowheads="1"/>
          </p:cNvSpPr>
          <p:nvPr userDrawn="1"/>
        </p:nvSpPr>
        <p:spPr bwMode="gray">
          <a:xfrm>
            <a:off x="5475818" y="6513913"/>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The information contained in this document is proprietary. Copyright © 2020 Capgemini. All rights reserved.</a:t>
            </a:r>
          </a:p>
        </p:txBody>
      </p:sp>
      <p:sp>
        <p:nvSpPr>
          <p:cNvPr id="23" name="Rectangle 22"/>
          <p:cNvSpPr/>
          <p:nvPr userDrawn="1">
            <p:custDataLst>
              <p:tags r:id="rId13"/>
            </p:custDataLst>
          </p:nvPr>
        </p:nvSpPr>
        <p:spPr>
          <a:xfrm>
            <a:off x="8910149" y="6340339"/>
            <a:ext cx="2552739" cy="261085"/>
          </a:xfrm>
          <a:prstGeom prst="rect">
            <a:avLst/>
          </a:prstGeom>
        </p:spPr>
        <p:txBody>
          <a:bodyPr wrap="none" lIns="47996" tIns="47996" rIns="47996" bIns="47996" anchor="b" anchorCtr="0">
            <a:noAutofit/>
          </a:bodyPr>
          <a:lstStyle/>
          <a:p>
            <a:pPr algn="r"/>
            <a:r>
              <a:rPr lang="en-US" sz="667" dirty="0">
                <a:solidFill>
                  <a:schemeClr val="tx2"/>
                </a:solidFill>
                <a:latin typeface="Verdana" panose="020B0604030504040204" pitchFamily="34" charset="0"/>
                <a:ea typeface="Verdana" panose="020B0604030504040204" pitchFamily="34" charset="0"/>
                <a:cs typeface="Verdana" panose="020B0604030504040204" pitchFamily="34" charset="0"/>
              </a:rPr>
              <a:t>IDEMIA Microservices Software Design and Development | March 2020</a:t>
            </a:r>
          </a:p>
        </p:txBody>
      </p:sp>
      <p:sp>
        <p:nvSpPr>
          <p:cNvPr id="11" name="Line 67">
            <a:extLst>
              <a:ext uri="{FF2B5EF4-FFF2-40B4-BE49-F238E27FC236}">
                <a16:creationId xmlns:a16="http://schemas.microsoft.com/office/drawing/2014/main" id="{8E023080-C5C1-4889-B370-76FFA91AEE7B}"/>
              </a:ext>
            </a:extLst>
          </p:cNvPr>
          <p:cNvSpPr>
            <a:spLocks noChangeShapeType="1"/>
          </p:cNvSpPr>
          <p:nvPr userDrawn="1"/>
        </p:nvSpPr>
        <p:spPr bwMode="auto">
          <a:xfrm>
            <a:off x="1981298" y="6444691"/>
            <a:ext cx="0" cy="268736"/>
          </a:xfrm>
          <a:prstGeom prst="line">
            <a:avLst/>
          </a:prstGeom>
          <a:noFill/>
          <a:ln w="6350" cap="flat">
            <a:solidFill>
              <a:srgbClr val="B2B2B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Graphic 9">
            <a:extLst>
              <a:ext uri="{FF2B5EF4-FFF2-40B4-BE49-F238E27FC236}">
                <a16:creationId xmlns:a16="http://schemas.microsoft.com/office/drawing/2014/main" id="{70C99266-AF8A-47C2-BAB2-9630AD577D8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25881" y="6429448"/>
            <a:ext cx="1412968" cy="315237"/>
          </a:xfrm>
          <a:prstGeom prst="rect">
            <a:avLst/>
          </a:prstGeom>
        </p:spPr>
      </p:pic>
      <p:pic>
        <p:nvPicPr>
          <p:cNvPr id="15" name="Picture 14" descr="Image result for idemia logo">
            <a:extLst>
              <a:ext uri="{FF2B5EF4-FFF2-40B4-BE49-F238E27FC236}">
                <a16:creationId xmlns:a16="http://schemas.microsoft.com/office/drawing/2014/main" id="{786013D1-14CB-40AD-ACCF-A42F69567C2C}"/>
              </a:ext>
            </a:extLst>
          </p:cNvPr>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2186000" y="6438843"/>
            <a:ext cx="700076" cy="266876"/>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4027" r:id="rId1"/>
    <p:sldLayoutId id="2147483987" r:id="rId2"/>
    <p:sldLayoutId id="2147483965" r:id="rId3"/>
    <p:sldLayoutId id="2147484012" r:id="rId4"/>
    <p:sldLayoutId id="2147483995" r:id="rId5"/>
    <p:sldLayoutId id="2147483934" r:id="rId6"/>
    <p:sldLayoutId id="2147484028" r:id="rId7"/>
  </p:sldLayoutIdLst>
  <p:txStyles>
    <p:titleStyle>
      <a:lvl1pPr algn="l" defTabSz="1038910" rtl="0" eaLnBrk="1" latinLnBrk="0" hangingPunct="1">
        <a:lnSpc>
          <a:spcPct val="85000"/>
        </a:lnSpc>
        <a:spcBef>
          <a:spcPct val="0"/>
        </a:spcBef>
        <a:buNone/>
        <a:defRPr sz="2400" b="0" kern="1200" spc="-93" baseline="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02676" indent="-302676" algn="l" defTabSz="1038910" rtl="0" eaLnBrk="1" latinLnBrk="0" hangingPunct="1">
        <a:lnSpc>
          <a:spcPct val="90000"/>
        </a:lnSpc>
        <a:spcBef>
          <a:spcPts val="0"/>
        </a:spcBef>
        <a:spcAft>
          <a:spcPts val="681"/>
        </a:spcAft>
        <a:buClr>
          <a:schemeClr val="accent2"/>
        </a:buClr>
        <a:buFont typeface="Wingdings" pitchFamily="2" charset="2"/>
        <a:buChar char="§"/>
        <a:defRPr sz="2000" b="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15935" indent="-292093" algn="l" defTabSz="1038910" rtl="0" eaLnBrk="1" latinLnBrk="0" hangingPunct="1">
        <a:lnSpc>
          <a:spcPct val="90000"/>
        </a:lnSpc>
        <a:spcBef>
          <a:spcPts val="0"/>
        </a:spcBef>
        <a:spcAft>
          <a:spcPts val="681"/>
        </a:spcAft>
        <a:buClr>
          <a:schemeClr val="accent2"/>
        </a:buClr>
        <a:buFont typeface="Arial" panose="020B0604020202020204" pitchFamily="34" charset="0"/>
        <a:buChar char="–"/>
        <a:defRPr sz="16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42412" indent="-186262" algn="l" defTabSz="1038910" rtl="0" eaLnBrk="1" latinLnBrk="0" hangingPunct="1">
        <a:lnSpc>
          <a:spcPct val="90000"/>
        </a:lnSpc>
        <a:spcBef>
          <a:spcPts val="0"/>
        </a:spcBef>
        <a:spcAft>
          <a:spcPts val="681"/>
        </a:spcAft>
        <a:buClr>
          <a:schemeClr val="accent2"/>
        </a:buClr>
        <a:buFont typeface="Arial" pitchFamily="34" charset="0"/>
        <a:buChar char="•"/>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68891" indent="-186262" algn="l" defTabSz="1038910" rtl="0" eaLnBrk="1" latinLnBrk="0" hangingPunct="1">
        <a:lnSpc>
          <a:spcPct val="90000"/>
        </a:lnSpc>
        <a:spcBef>
          <a:spcPts val="0"/>
        </a:spcBef>
        <a:spcAft>
          <a:spcPts val="681"/>
        </a:spcAft>
        <a:buClr>
          <a:schemeClr val="accent2"/>
        </a:buClr>
        <a:buFont typeface="Courier New" panose="02070309020205020404" pitchFamily="49" charset="0"/>
        <a:buChar char="o"/>
        <a:defRPr sz="1400" kern="1200" spc="-93"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917" indent="-220048" algn="l" defTabSz="1038910" rtl="0" eaLnBrk="1" latinLnBrk="0" hangingPunct="1">
        <a:spcBef>
          <a:spcPts val="0"/>
        </a:spcBef>
        <a:buClr>
          <a:srgbClr val="B1B1B1"/>
        </a:buClr>
        <a:buFont typeface="Arial" pitchFamily="34" charset="0"/>
        <a:buChar char="–"/>
        <a:defRPr sz="1867" kern="1200">
          <a:solidFill>
            <a:srgbClr val="494949"/>
          </a:solidFill>
          <a:latin typeface="+mn-lt"/>
          <a:ea typeface="+mn-ea"/>
          <a:cs typeface="+mn-cs"/>
        </a:defRPr>
      </a:lvl5pPr>
      <a:lvl6pPr marL="285700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6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15"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370" indent="-259728" algn="l" defTabSz="1038910"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fr-FR"/>
      </a:defPPr>
      <a:lvl1pPr marL="0" algn="l" defTabSz="1038910" rtl="0" eaLnBrk="1" latinLnBrk="0" hangingPunct="1">
        <a:defRPr sz="2000" kern="1200">
          <a:solidFill>
            <a:schemeClr val="tx1"/>
          </a:solidFill>
          <a:latin typeface="+mn-lt"/>
          <a:ea typeface="+mn-ea"/>
          <a:cs typeface="+mn-cs"/>
        </a:defRPr>
      </a:lvl1pPr>
      <a:lvl2pPr marL="519455" algn="l" defTabSz="1038910" rtl="0" eaLnBrk="1" latinLnBrk="0" hangingPunct="1">
        <a:defRPr sz="2000" kern="1200">
          <a:solidFill>
            <a:schemeClr val="tx1"/>
          </a:solidFill>
          <a:latin typeface="+mn-lt"/>
          <a:ea typeface="+mn-ea"/>
          <a:cs typeface="+mn-cs"/>
        </a:defRPr>
      </a:lvl2pPr>
      <a:lvl3pPr marL="1038910" algn="l" defTabSz="1038910" rtl="0" eaLnBrk="1" latinLnBrk="0" hangingPunct="1">
        <a:defRPr sz="2000" kern="1200">
          <a:solidFill>
            <a:schemeClr val="tx1"/>
          </a:solidFill>
          <a:latin typeface="+mn-lt"/>
          <a:ea typeface="+mn-ea"/>
          <a:cs typeface="+mn-cs"/>
        </a:defRPr>
      </a:lvl3pPr>
      <a:lvl4pPr marL="1558365" algn="l" defTabSz="1038910" rtl="0" eaLnBrk="1" latinLnBrk="0" hangingPunct="1">
        <a:defRPr sz="2000" kern="1200">
          <a:solidFill>
            <a:schemeClr val="tx1"/>
          </a:solidFill>
          <a:latin typeface="+mn-lt"/>
          <a:ea typeface="+mn-ea"/>
          <a:cs typeface="+mn-cs"/>
        </a:defRPr>
      </a:lvl4pPr>
      <a:lvl5pPr marL="2077821" algn="l" defTabSz="1038910" rtl="0" eaLnBrk="1" latinLnBrk="0" hangingPunct="1">
        <a:defRPr sz="2000" kern="1200">
          <a:solidFill>
            <a:schemeClr val="tx1"/>
          </a:solidFill>
          <a:latin typeface="+mn-lt"/>
          <a:ea typeface="+mn-ea"/>
          <a:cs typeface="+mn-cs"/>
        </a:defRPr>
      </a:lvl5pPr>
      <a:lvl6pPr marL="2597276" algn="l" defTabSz="1038910" rtl="0" eaLnBrk="1" latinLnBrk="0" hangingPunct="1">
        <a:defRPr sz="2000" kern="1200">
          <a:solidFill>
            <a:schemeClr val="tx1"/>
          </a:solidFill>
          <a:latin typeface="+mn-lt"/>
          <a:ea typeface="+mn-ea"/>
          <a:cs typeface="+mn-cs"/>
        </a:defRPr>
      </a:lvl6pPr>
      <a:lvl7pPr marL="3116731" algn="l" defTabSz="1038910" rtl="0" eaLnBrk="1" latinLnBrk="0" hangingPunct="1">
        <a:defRPr sz="2000" kern="1200">
          <a:solidFill>
            <a:schemeClr val="tx1"/>
          </a:solidFill>
          <a:latin typeface="+mn-lt"/>
          <a:ea typeface="+mn-ea"/>
          <a:cs typeface="+mn-cs"/>
        </a:defRPr>
      </a:lvl7pPr>
      <a:lvl8pPr marL="3636188" algn="l" defTabSz="1038910" rtl="0" eaLnBrk="1" latinLnBrk="0" hangingPunct="1">
        <a:defRPr sz="2000" kern="1200">
          <a:solidFill>
            <a:schemeClr val="tx1"/>
          </a:solidFill>
          <a:latin typeface="+mn-lt"/>
          <a:ea typeface="+mn-ea"/>
          <a:cs typeface="+mn-cs"/>
        </a:defRPr>
      </a:lvl8pPr>
      <a:lvl9pPr marL="4155643" algn="l" defTabSz="103891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nior Developer Java</a:t>
            </a:r>
          </a:p>
        </p:txBody>
      </p:sp>
      <p:sp>
        <p:nvSpPr>
          <p:cNvPr id="4" name="Freeform 6">
            <a:extLst>
              <a:ext uri="{FF2B5EF4-FFF2-40B4-BE49-F238E27FC236}">
                <a16:creationId xmlns:a16="http://schemas.microsoft.com/office/drawing/2014/main" id="{69E5BB85-FDAE-4CAD-AA0B-EC0696EED59F}"/>
              </a:ext>
            </a:extLst>
          </p:cNvPr>
          <p:cNvSpPr>
            <a:spLocks/>
          </p:cNvSpPr>
          <p:nvPr/>
        </p:nvSpPr>
        <p:spPr bwMode="auto">
          <a:xfrm flipH="1">
            <a:off x="186865" y="901700"/>
            <a:ext cx="11765868" cy="1409700"/>
          </a:xfrm>
          <a:prstGeom prst="round2DiagRect">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sz="1200" b="1" kern="0">
              <a:solidFill>
                <a:schemeClr val="bg1"/>
              </a:solidFill>
            </a:endParaRPr>
          </a:p>
        </p:txBody>
      </p:sp>
      <p:sp>
        <p:nvSpPr>
          <p:cNvPr id="5" name="Rectangle 4">
            <a:extLst>
              <a:ext uri="{FF2B5EF4-FFF2-40B4-BE49-F238E27FC236}">
                <a16:creationId xmlns:a16="http://schemas.microsoft.com/office/drawing/2014/main" id="{EE697D5E-1CA1-4FB7-9EDB-F4386E814CFD}"/>
              </a:ext>
            </a:extLst>
          </p:cNvPr>
          <p:cNvSpPr/>
          <p:nvPr/>
        </p:nvSpPr>
        <p:spPr>
          <a:xfrm>
            <a:off x="309457" y="1523451"/>
            <a:ext cx="815976" cy="166199"/>
          </a:xfrm>
          <a:prstGeom prst="rect">
            <a:avLst/>
          </a:prstGeom>
        </p:spPr>
        <p:txBody>
          <a:bodyPr wrap="square" lIns="0" tIns="0" rIns="0" bIns="0">
            <a:spAutoFit/>
          </a:bodyPr>
          <a:lstStyle/>
          <a:p>
            <a:pPr>
              <a:lnSpc>
                <a:spcPct val="90000"/>
              </a:lnSpc>
              <a:defRPr/>
            </a:pPr>
            <a:r>
              <a:rPr lang="en-US" sz="1200" b="1">
                <a:solidFill>
                  <a:schemeClr val="bg1"/>
                </a:solidFill>
              </a:rPr>
              <a:t>Summary</a:t>
            </a:r>
          </a:p>
        </p:txBody>
      </p:sp>
      <p:cxnSp>
        <p:nvCxnSpPr>
          <p:cNvPr id="6" name="Straight Connector 5">
            <a:extLst>
              <a:ext uri="{FF2B5EF4-FFF2-40B4-BE49-F238E27FC236}">
                <a16:creationId xmlns:a16="http://schemas.microsoft.com/office/drawing/2014/main" id="{F8955EC2-9BAE-4845-B85C-73F4F3929B06}"/>
              </a:ext>
            </a:extLst>
          </p:cNvPr>
          <p:cNvCxnSpPr/>
          <p:nvPr/>
        </p:nvCxnSpPr>
        <p:spPr>
          <a:xfrm flipV="1">
            <a:off x="1231900" y="1092200"/>
            <a:ext cx="12700" cy="1028700"/>
          </a:xfrm>
          <a:prstGeom prst="line">
            <a:avLst/>
          </a:prstGeom>
          <a:ln>
            <a:solidFill>
              <a:schemeClr val="bg1"/>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236894" y="2594187"/>
            <a:ext cx="4360506" cy="3735238"/>
            <a:chOff x="236894" y="2594187"/>
            <a:chExt cx="5726406" cy="3735238"/>
          </a:xfrm>
        </p:grpSpPr>
        <p:sp>
          <p:nvSpPr>
            <p:cNvPr id="7" name="Rectangle 6">
              <a:extLst>
                <a:ext uri="{FF2B5EF4-FFF2-40B4-BE49-F238E27FC236}">
                  <a16:creationId xmlns:a16="http://schemas.microsoft.com/office/drawing/2014/main" id="{DD53677C-6A20-4ED4-92AA-BAFA832969DB}"/>
                </a:ext>
              </a:extLst>
            </p:cNvPr>
            <p:cNvSpPr/>
            <p:nvPr/>
          </p:nvSpPr>
          <p:spPr>
            <a:xfrm>
              <a:off x="236894" y="2622015"/>
              <a:ext cx="5726406" cy="3664485"/>
            </a:xfrm>
            <a:prstGeom prst="rect">
              <a:avLst/>
            </a:prstGeom>
            <a:gradFill flip="none" rotWithShape="1">
              <a:gsLst>
                <a:gs pos="0">
                  <a:schemeClr val="bg2"/>
                </a:gs>
                <a:gs pos="100000">
                  <a:sysClr val="window" lastClr="FFFFFF"/>
                </a:gs>
              </a:gsLst>
              <a:lin ang="16200000" scaled="1"/>
              <a:tileRect/>
            </a:gradFill>
            <a:ln w="12700" cap="flat" cmpd="sng" algn="ctr">
              <a:noFill/>
              <a:prstDash val="solid"/>
            </a:ln>
            <a:effectLst/>
          </p:spPr>
          <p:txBody>
            <a:bodyPr wrap="square" rtlCol="0" anchor="t">
              <a:noAutofit/>
            </a:bodyPr>
            <a:lstStyle/>
            <a:p>
              <a:pPr marL="171450" marR="0" lvl="2" indent="-171450" defTabSz="914103" eaLnBrk="1" fontAlgn="base" latinLnBrk="0" hangingPunct="1">
                <a:lnSpc>
                  <a:spcPct val="100000"/>
                </a:lnSpc>
                <a:spcBef>
                  <a:spcPts val="0"/>
                </a:spcBef>
                <a:spcAft>
                  <a:spcPts val="500"/>
                </a:spcAft>
                <a:buClr>
                  <a:schemeClr val="tx2"/>
                </a:buClr>
                <a:buSzTx/>
                <a:buFont typeface="Wingdings" panose="05000000000000000000" pitchFamily="2" charset="2"/>
                <a:buChar char="§"/>
                <a:tabLst/>
                <a:defRPr/>
              </a:pPr>
              <a:endParaRPr kumimoji="0" lang="en-US" sz="1050" b="0" i="0" u="none" strike="noStrike" kern="0" cap="none" spc="0" normalizeH="0" baseline="0" noProof="0">
                <a:ln>
                  <a:noFill/>
                </a:ln>
                <a:solidFill>
                  <a:prstClr val="black"/>
                </a:solidFill>
                <a:effectLst/>
                <a:uLnTx/>
                <a:uFillTx/>
                <a:latin typeface="+mj-lt"/>
                <a:ea typeface="+mn-ea"/>
                <a:cs typeface="+mn-cs"/>
              </a:endParaRPr>
            </a:p>
          </p:txBody>
        </p:sp>
        <p:sp>
          <p:nvSpPr>
            <p:cNvPr id="8" name="Rounded Rectangle 75">
              <a:extLst>
                <a:ext uri="{FF2B5EF4-FFF2-40B4-BE49-F238E27FC236}">
                  <a16:creationId xmlns:a16="http://schemas.microsoft.com/office/drawing/2014/main" id="{8E8574DD-246E-4A14-8296-18E6985BB341}"/>
                </a:ext>
              </a:extLst>
            </p:cNvPr>
            <p:cNvSpPr/>
            <p:nvPr/>
          </p:nvSpPr>
          <p:spPr>
            <a:xfrm>
              <a:off x="524691" y="2594187"/>
              <a:ext cx="5222313" cy="314520"/>
            </a:xfrm>
            <a:prstGeom prst="roundRect">
              <a:avLst>
                <a:gd name="adj" fmla="val 50000"/>
              </a:avLst>
            </a:prstGeom>
            <a:solidFill>
              <a:schemeClr val="bg1"/>
            </a:solidFill>
            <a:ln w="9525" cap="flat" cmpd="sng" algn="ctr">
              <a:solidFill>
                <a:schemeClr val="tx2"/>
              </a:solidFill>
              <a:prstDash val="solid"/>
            </a:ln>
            <a:effectLst/>
          </p:spPr>
          <p:txBody>
            <a:bodyPr wrap="square" lIns="457200" tIns="0" rIns="34359" bIns="0" rtlCol="0" anchor="ctr"/>
            <a:lstStyle/>
            <a:p>
              <a:pPr lvl="0" defTabSz="872722">
                <a:defRPr/>
              </a:pPr>
              <a:r>
                <a:rPr lang="en-GB" sz="1400" b="1" kern="0">
                  <a:solidFill>
                    <a:schemeClr val="tx2"/>
                  </a:solidFill>
                  <a:latin typeface="+mj-lt"/>
                  <a:cs typeface="Arial"/>
                </a:rPr>
                <a:t>KEY COMPETENCIES</a:t>
              </a:r>
              <a:endParaRPr kumimoji="0" lang="en-GB" sz="1400" b="1" i="0" u="none" strike="noStrike" kern="0" cap="none" spc="0" normalizeH="0" baseline="0" noProof="0">
                <a:ln>
                  <a:noFill/>
                </a:ln>
                <a:solidFill>
                  <a:schemeClr val="tx2"/>
                </a:solidFill>
                <a:effectLst/>
                <a:uLnTx/>
                <a:uFillTx/>
                <a:latin typeface="+mj-lt"/>
                <a:ea typeface="+mn-ea"/>
                <a:cs typeface="Arial"/>
              </a:endParaRPr>
            </a:p>
          </p:txBody>
        </p:sp>
        <p:sp>
          <p:nvSpPr>
            <p:cNvPr id="9" name="Rectangle 8">
              <a:extLst>
                <a:ext uri="{FF2B5EF4-FFF2-40B4-BE49-F238E27FC236}">
                  <a16:creationId xmlns:a16="http://schemas.microsoft.com/office/drawing/2014/main" id="{2450053E-A32A-4844-9BDB-EFC7A1C6AE2A}"/>
                </a:ext>
              </a:extLst>
            </p:cNvPr>
            <p:cNvSpPr/>
            <p:nvPr/>
          </p:nvSpPr>
          <p:spPr>
            <a:xfrm>
              <a:off x="236895" y="6270807"/>
              <a:ext cx="5725726" cy="58618"/>
            </a:xfrm>
            <a:prstGeom prst="rect">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ea typeface="+mn-ea"/>
                <a:cs typeface="Arial" pitchFamily="34" charset="0"/>
              </a:endParaRPr>
            </a:p>
          </p:txBody>
        </p:sp>
      </p:grpSp>
      <p:sp>
        <p:nvSpPr>
          <p:cNvPr id="10" name="Rectangle 9">
            <a:extLst>
              <a:ext uri="{FF2B5EF4-FFF2-40B4-BE49-F238E27FC236}">
                <a16:creationId xmlns:a16="http://schemas.microsoft.com/office/drawing/2014/main" id="{25E66409-1FF0-40A5-9C5A-FFF5B08A00E9}"/>
              </a:ext>
            </a:extLst>
          </p:cNvPr>
          <p:cNvSpPr>
            <a:spLocks/>
          </p:cNvSpPr>
          <p:nvPr/>
        </p:nvSpPr>
        <p:spPr>
          <a:xfrm>
            <a:off x="4751774" y="2622015"/>
            <a:ext cx="7224326" cy="3664485"/>
          </a:xfrm>
          <a:prstGeom prst="rect">
            <a:avLst/>
          </a:prstGeom>
          <a:gradFill flip="none" rotWithShape="1">
            <a:gsLst>
              <a:gs pos="0">
                <a:schemeClr val="bg2"/>
              </a:gs>
              <a:gs pos="100000">
                <a:sysClr val="window" lastClr="FFFFFF"/>
              </a:gs>
            </a:gsLst>
            <a:lin ang="16200000" scaled="1"/>
            <a:tileRect/>
          </a:gradFill>
          <a:ln w="12700" cap="flat" cmpd="sng" algn="ctr">
            <a:noFill/>
            <a:prstDash val="solid"/>
          </a:ln>
          <a:effectLst/>
        </p:spPr>
        <p:txBody>
          <a:bodyPr wrap="square" rtlCol="0" anchor="t">
            <a:noAutofit/>
          </a:bodyPr>
          <a:lstStyle/>
          <a:p>
            <a:pPr marL="171450" marR="0" lvl="2" indent="-171450" defTabSz="914103" eaLnBrk="1" fontAlgn="base" latinLnBrk="0" hangingPunct="1">
              <a:lnSpc>
                <a:spcPct val="100000"/>
              </a:lnSpc>
              <a:spcBef>
                <a:spcPts val="0"/>
              </a:spcBef>
              <a:spcAft>
                <a:spcPts val="300"/>
              </a:spcAft>
              <a:buClr>
                <a:schemeClr val="tx2"/>
              </a:buClr>
              <a:buSzTx/>
              <a:buFont typeface="Wingdings" panose="05000000000000000000" pitchFamily="2" charset="2"/>
              <a:buChar char="§"/>
              <a:tabLst/>
              <a:defRPr/>
            </a:pPr>
            <a:endParaRPr kumimoji="0" lang="en-US" altLang="zh-CN" sz="1050" b="0" i="0" u="none" strike="noStrike" kern="0" cap="none" spc="0" normalizeH="0" baseline="0" noProof="0">
              <a:ln>
                <a:noFill/>
              </a:ln>
              <a:solidFill>
                <a:prstClr val="black"/>
              </a:solidFill>
              <a:effectLst/>
              <a:uLnTx/>
              <a:uFillTx/>
              <a:latin typeface="+mj-lt"/>
              <a:ea typeface="+mn-ea"/>
              <a:cs typeface="+mn-cs"/>
            </a:endParaRPr>
          </a:p>
          <a:p>
            <a:pPr marL="111125" marR="0" lvl="2" indent="-111125" defTabSz="914103" eaLnBrk="1" fontAlgn="base" latinLnBrk="0" hangingPunct="1">
              <a:lnSpc>
                <a:spcPct val="100000"/>
              </a:lnSpc>
              <a:spcBef>
                <a:spcPts val="0"/>
              </a:spcBef>
              <a:spcAft>
                <a:spcPts val="500"/>
              </a:spcAft>
              <a:buClr>
                <a:schemeClr val="tx2"/>
              </a:buClr>
              <a:buSzTx/>
              <a:buFont typeface="Wingdings" pitchFamily="2" charset="2"/>
              <a:buChar char="§"/>
              <a:tabLst/>
              <a:defRPr/>
            </a:pPr>
            <a:endParaRPr kumimoji="0" lang="en-US" altLang="zh-CN" sz="1050" b="0" i="0" u="none" strike="noStrike" kern="0" cap="none" spc="0" normalizeH="0" baseline="0" noProof="0">
              <a:ln>
                <a:noFill/>
              </a:ln>
              <a:solidFill>
                <a:prstClr val="black"/>
              </a:solidFill>
              <a:effectLst/>
              <a:uLnTx/>
              <a:uFillTx/>
              <a:latin typeface="+mj-lt"/>
              <a:ea typeface="+mn-ea"/>
              <a:cs typeface="+mn-cs"/>
            </a:endParaRPr>
          </a:p>
        </p:txBody>
      </p:sp>
      <p:sp>
        <p:nvSpPr>
          <p:cNvPr id="11" name="Rectangle 10">
            <a:extLst>
              <a:ext uri="{FF2B5EF4-FFF2-40B4-BE49-F238E27FC236}">
                <a16:creationId xmlns:a16="http://schemas.microsoft.com/office/drawing/2014/main" id="{8B052012-2440-4D3B-9C9A-8399C2946907}"/>
              </a:ext>
            </a:extLst>
          </p:cNvPr>
          <p:cNvSpPr/>
          <p:nvPr/>
        </p:nvSpPr>
        <p:spPr>
          <a:xfrm>
            <a:off x="4747690" y="6270807"/>
            <a:ext cx="7224326" cy="58618"/>
          </a:xfrm>
          <a:prstGeom prst="rect">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ea typeface="+mn-ea"/>
              <a:cs typeface="Arial" pitchFamily="34" charset="0"/>
            </a:endParaRPr>
          </a:p>
        </p:txBody>
      </p:sp>
      <p:sp>
        <p:nvSpPr>
          <p:cNvPr id="12" name="Rounded Rectangle 93">
            <a:extLst>
              <a:ext uri="{FF2B5EF4-FFF2-40B4-BE49-F238E27FC236}">
                <a16:creationId xmlns:a16="http://schemas.microsoft.com/office/drawing/2014/main" id="{A198E701-D7CA-4404-818B-2298C2AD3E49}"/>
              </a:ext>
            </a:extLst>
          </p:cNvPr>
          <p:cNvSpPr/>
          <p:nvPr/>
        </p:nvSpPr>
        <p:spPr>
          <a:xfrm>
            <a:off x="5035262" y="2594187"/>
            <a:ext cx="6589154" cy="314520"/>
          </a:xfrm>
          <a:prstGeom prst="roundRect">
            <a:avLst>
              <a:gd name="adj" fmla="val 50000"/>
            </a:avLst>
          </a:prstGeom>
          <a:solidFill>
            <a:schemeClr val="bg1"/>
          </a:solidFill>
          <a:ln w="9525" cap="flat" cmpd="sng" algn="ctr">
            <a:solidFill>
              <a:schemeClr val="accent2"/>
            </a:solidFill>
            <a:prstDash val="solid"/>
          </a:ln>
          <a:effectLst/>
        </p:spPr>
        <p:txBody>
          <a:bodyPr wrap="square" lIns="457200" tIns="0" rIns="34359" bIns="0" rtlCol="0" anchor="ctr"/>
          <a:lstStyle/>
          <a:p>
            <a:pPr lvl="0" defTabSz="872722">
              <a:defRPr/>
            </a:pPr>
            <a:r>
              <a:rPr lang="en-GB" sz="1400" b="1" kern="0">
                <a:solidFill>
                  <a:schemeClr val="accent2"/>
                </a:solidFill>
                <a:latin typeface="+mj-lt"/>
                <a:cs typeface="Arial"/>
              </a:rPr>
              <a:t>KEY ASSIGNMENTS</a:t>
            </a:r>
          </a:p>
        </p:txBody>
      </p:sp>
      <p:sp>
        <p:nvSpPr>
          <p:cNvPr id="17" name="Oval 20">
            <a:extLst>
              <a:ext uri="{FF2B5EF4-FFF2-40B4-BE49-F238E27FC236}">
                <a16:creationId xmlns:a16="http://schemas.microsoft.com/office/drawing/2014/main" id="{2ACB5308-EEAE-4C9E-A90A-449386298CD8}"/>
              </a:ext>
            </a:extLst>
          </p:cNvPr>
          <p:cNvSpPr/>
          <p:nvPr/>
        </p:nvSpPr>
        <p:spPr>
          <a:xfrm>
            <a:off x="4657665" y="2439598"/>
            <a:ext cx="675650" cy="63837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w="1905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prstClr val="white"/>
              </a:solidFill>
              <a:effectLst/>
              <a:uLnTx/>
              <a:uFillTx/>
              <a:latin typeface="Verdana"/>
              <a:ea typeface="+mn-ea"/>
              <a:cs typeface="+mn-cs"/>
            </a:endParaRPr>
          </a:p>
        </p:txBody>
      </p:sp>
      <p:sp>
        <p:nvSpPr>
          <p:cNvPr id="18" name="Oval 20">
            <a:extLst>
              <a:ext uri="{FF2B5EF4-FFF2-40B4-BE49-F238E27FC236}">
                <a16:creationId xmlns:a16="http://schemas.microsoft.com/office/drawing/2014/main" id="{5645C8D3-28FD-4C02-A56C-164A9A34E2DB}"/>
              </a:ext>
            </a:extLst>
          </p:cNvPr>
          <p:cNvSpPr/>
          <p:nvPr/>
        </p:nvSpPr>
        <p:spPr>
          <a:xfrm>
            <a:off x="186867" y="2439598"/>
            <a:ext cx="675650" cy="63837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tx2"/>
          </a:solidFill>
          <a:ln w="19050" cap="flat" cmpd="sng" algn="ctr">
            <a:solidFill>
              <a:schemeClr val="tx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PT" sz="1800" b="0" i="0" u="none" strike="noStrike" kern="0" cap="none" spc="0" normalizeH="0" baseline="0" noProof="0">
              <a:ln>
                <a:noFill/>
              </a:ln>
              <a:solidFill>
                <a:prstClr val="white"/>
              </a:solidFill>
              <a:effectLst/>
              <a:uLnTx/>
              <a:uFillTx/>
              <a:latin typeface="Verdana"/>
              <a:ea typeface="+mn-ea"/>
              <a:cs typeface="+mn-cs"/>
            </a:endParaRPr>
          </a:p>
        </p:txBody>
      </p:sp>
      <p:grpSp>
        <p:nvGrpSpPr>
          <p:cNvPr id="20" name="Group 19">
            <a:extLst>
              <a:ext uri="{FF2B5EF4-FFF2-40B4-BE49-F238E27FC236}">
                <a16:creationId xmlns:a16="http://schemas.microsoft.com/office/drawing/2014/main" id="{DB8A5359-ECC7-41B8-8C48-F23C40D11BEF}"/>
              </a:ext>
            </a:extLst>
          </p:cNvPr>
          <p:cNvGrpSpPr/>
          <p:nvPr/>
        </p:nvGrpSpPr>
        <p:grpSpPr>
          <a:xfrm>
            <a:off x="290470" y="2577798"/>
            <a:ext cx="438236" cy="385170"/>
            <a:chOff x="675463" y="2492078"/>
            <a:chExt cx="677221" cy="595216"/>
          </a:xfrm>
        </p:grpSpPr>
        <p:sp>
          <p:nvSpPr>
            <p:cNvPr id="21" name="Freeform 6">
              <a:extLst>
                <a:ext uri="{FF2B5EF4-FFF2-40B4-BE49-F238E27FC236}">
                  <a16:creationId xmlns:a16="http://schemas.microsoft.com/office/drawing/2014/main" id="{77F85986-6430-4202-B82F-A81EFBB877BC}"/>
                </a:ext>
              </a:extLst>
            </p:cNvPr>
            <p:cNvSpPr>
              <a:spLocks/>
            </p:cNvSpPr>
            <p:nvPr/>
          </p:nvSpPr>
          <p:spPr bwMode="auto">
            <a:xfrm>
              <a:off x="755216" y="2492078"/>
              <a:ext cx="209519" cy="22529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7">
              <a:extLst>
                <a:ext uri="{FF2B5EF4-FFF2-40B4-BE49-F238E27FC236}">
                  <a16:creationId xmlns:a16="http://schemas.microsoft.com/office/drawing/2014/main" id="{9C1F5AED-2DE7-4B80-A70A-B4E101FBA8EE}"/>
                </a:ext>
              </a:extLst>
            </p:cNvPr>
            <p:cNvSpPr>
              <a:spLocks/>
            </p:cNvSpPr>
            <p:nvPr/>
          </p:nvSpPr>
          <p:spPr bwMode="auto">
            <a:xfrm>
              <a:off x="675463" y="2735391"/>
              <a:ext cx="369926" cy="244665"/>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8">
              <a:extLst>
                <a:ext uri="{FF2B5EF4-FFF2-40B4-BE49-F238E27FC236}">
                  <a16:creationId xmlns:a16="http://schemas.microsoft.com/office/drawing/2014/main" id="{62FE231E-9E4E-4B72-AC5A-63BF6AE8BCE8}"/>
                </a:ext>
              </a:extLst>
            </p:cNvPr>
            <p:cNvSpPr>
              <a:spLocks/>
            </p:cNvSpPr>
            <p:nvPr/>
          </p:nvSpPr>
          <p:spPr bwMode="auto">
            <a:xfrm>
              <a:off x="1012947" y="2510101"/>
              <a:ext cx="237455" cy="256831"/>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9">
              <a:extLst>
                <a:ext uri="{FF2B5EF4-FFF2-40B4-BE49-F238E27FC236}">
                  <a16:creationId xmlns:a16="http://schemas.microsoft.com/office/drawing/2014/main" id="{69FAAC9B-8C88-4419-83A7-421A2AAA62A2}"/>
                </a:ext>
              </a:extLst>
            </p:cNvPr>
            <p:cNvSpPr>
              <a:spLocks/>
            </p:cNvSpPr>
            <p:nvPr/>
          </p:nvSpPr>
          <p:spPr bwMode="auto">
            <a:xfrm>
              <a:off x="908413" y="2795769"/>
              <a:ext cx="444271" cy="291525"/>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5" name="Group 24">
            <a:extLst>
              <a:ext uri="{FF2B5EF4-FFF2-40B4-BE49-F238E27FC236}">
                <a16:creationId xmlns:a16="http://schemas.microsoft.com/office/drawing/2014/main" id="{E9A57F27-AEC7-44E8-A475-3198A09A9974}"/>
              </a:ext>
            </a:extLst>
          </p:cNvPr>
          <p:cNvGrpSpPr/>
          <p:nvPr/>
        </p:nvGrpSpPr>
        <p:grpSpPr>
          <a:xfrm>
            <a:off x="4773214" y="2481714"/>
            <a:ext cx="433951" cy="452338"/>
            <a:chOff x="-1295400" y="3870325"/>
            <a:chExt cx="561975" cy="585787"/>
          </a:xfrm>
          <a:solidFill>
            <a:schemeClr val="bg1"/>
          </a:solidFill>
        </p:grpSpPr>
        <p:sp>
          <p:nvSpPr>
            <p:cNvPr id="26" name="Freeform 25">
              <a:extLst>
                <a:ext uri="{FF2B5EF4-FFF2-40B4-BE49-F238E27FC236}">
                  <a16:creationId xmlns:a16="http://schemas.microsoft.com/office/drawing/2014/main" id="{7719120E-BF26-428E-A3F6-527BF9580C66}"/>
                </a:ext>
              </a:extLst>
            </p:cNvPr>
            <p:cNvSpPr>
              <a:spLocks/>
            </p:cNvSpPr>
            <p:nvPr/>
          </p:nvSpPr>
          <p:spPr bwMode="auto">
            <a:xfrm>
              <a:off x="-1159736" y="4007560"/>
              <a:ext cx="289786" cy="337428"/>
            </a:xfrm>
            <a:custGeom>
              <a:avLst/>
              <a:gdLst>
                <a:gd name="T0" fmla="*/ 768 w 768"/>
                <a:gd name="T1" fmla="*/ 385 h 895"/>
                <a:gd name="T2" fmla="*/ 661 w 768"/>
                <a:gd name="T3" fmla="*/ 650 h 895"/>
                <a:gd name="T4" fmla="*/ 567 w 768"/>
                <a:gd name="T5" fmla="*/ 841 h 895"/>
                <a:gd name="T6" fmla="*/ 504 w 768"/>
                <a:gd name="T7" fmla="*/ 895 h 895"/>
                <a:gd name="T8" fmla="*/ 266 w 768"/>
                <a:gd name="T9" fmla="*/ 895 h 895"/>
                <a:gd name="T10" fmla="*/ 204 w 768"/>
                <a:gd name="T11" fmla="*/ 842 h 895"/>
                <a:gd name="T12" fmla="*/ 109 w 768"/>
                <a:gd name="T13" fmla="*/ 650 h 895"/>
                <a:gd name="T14" fmla="*/ 2 w 768"/>
                <a:gd name="T15" fmla="*/ 389 h 895"/>
                <a:gd name="T16" fmla="*/ 383 w 768"/>
                <a:gd name="T17" fmla="*/ 2 h 895"/>
                <a:gd name="T18" fmla="*/ 768 w 768"/>
                <a:gd name="T19" fmla="*/ 385 h 895"/>
                <a:gd name="connsiteX0" fmla="*/ 9975 w 9975"/>
                <a:gd name="connsiteY0" fmla="*/ 4281 h 9979"/>
                <a:gd name="connsiteX1" fmla="*/ 8582 w 9975"/>
                <a:gd name="connsiteY1" fmla="*/ 7242 h 9979"/>
                <a:gd name="connsiteX2" fmla="*/ 7358 w 9975"/>
                <a:gd name="connsiteY2" fmla="*/ 9376 h 9979"/>
                <a:gd name="connsiteX3" fmla="*/ 6538 w 9975"/>
                <a:gd name="connsiteY3" fmla="*/ 9979 h 9979"/>
                <a:gd name="connsiteX4" fmla="*/ 3439 w 9975"/>
                <a:gd name="connsiteY4" fmla="*/ 9979 h 9979"/>
                <a:gd name="connsiteX5" fmla="*/ 2631 w 9975"/>
                <a:gd name="connsiteY5" fmla="*/ 9387 h 9979"/>
                <a:gd name="connsiteX6" fmla="*/ 1394 w 9975"/>
                <a:gd name="connsiteY6" fmla="*/ 7242 h 9979"/>
                <a:gd name="connsiteX7" fmla="*/ 1 w 9975"/>
                <a:gd name="connsiteY7" fmla="*/ 4325 h 9979"/>
                <a:gd name="connsiteX8" fmla="*/ 4962 w 9975"/>
                <a:gd name="connsiteY8" fmla="*/ 1 h 9979"/>
                <a:gd name="connsiteX9" fmla="*/ 9975 w 9975"/>
                <a:gd name="connsiteY9" fmla="*/ 4281 h 9979"/>
                <a:gd name="connsiteX0" fmla="*/ 10000 w 10000"/>
                <a:gd name="connsiteY0" fmla="*/ 4290 h 10000"/>
                <a:gd name="connsiteX1" fmla="*/ 8604 w 10000"/>
                <a:gd name="connsiteY1" fmla="*/ 7257 h 10000"/>
                <a:gd name="connsiteX2" fmla="*/ 7376 w 10000"/>
                <a:gd name="connsiteY2" fmla="*/ 9396 h 10000"/>
                <a:gd name="connsiteX3" fmla="*/ 6554 w 10000"/>
                <a:gd name="connsiteY3" fmla="*/ 10000 h 10000"/>
                <a:gd name="connsiteX4" fmla="*/ 3448 w 10000"/>
                <a:gd name="connsiteY4" fmla="*/ 10000 h 10000"/>
                <a:gd name="connsiteX5" fmla="*/ 2638 w 10000"/>
                <a:gd name="connsiteY5" fmla="*/ 9407 h 10000"/>
                <a:gd name="connsiteX6" fmla="*/ 1397 w 10000"/>
                <a:gd name="connsiteY6" fmla="*/ 7257 h 10000"/>
                <a:gd name="connsiteX7" fmla="*/ 1 w 10000"/>
                <a:gd name="connsiteY7" fmla="*/ 4334 h 10000"/>
                <a:gd name="connsiteX8" fmla="*/ 4974 w 10000"/>
                <a:gd name="connsiteY8" fmla="*/ 1 h 10000"/>
                <a:gd name="connsiteX9" fmla="*/ 10000 w 10000"/>
                <a:gd name="connsiteY9" fmla="*/ 4290 h 10000"/>
                <a:gd name="connsiteX0" fmla="*/ 10000 w 10000"/>
                <a:gd name="connsiteY0" fmla="*/ 4290 h 10000"/>
                <a:gd name="connsiteX1" fmla="*/ 8604 w 10000"/>
                <a:gd name="connsiteY1" fmla="*/ 7257 h 10000"/>
                <a:gd name="connsiteX2" fmla="*/ 7376 w 10000"/>
                <a:gd name="connsiteY2" fmla="*/ 9396 h 10000"/>
                <a:gd name="connsiteX3" fmla="*/ 6554 w 10000"/>
                <a:gd name="connsiteY3" fmla="*/ 10000 h 10000"/>
                <a:gd name="connsiteX4" fmla="*/ 3448 w 10000"/>
                <a:gd name="connsiteY4" fmla="*/ 10000 h 10000"/>
                <a:gd name="connsiteX5" fmla="*/ 2638 w 10000"/>
                <a:gd name="connsiteY5" fmla="*/ 9407 h 10000"/>
                <a:gd name="connsiteX6" fmla="*/ 1397 w 10000"/>
                <a:gd name="connsiteY6" fmla="*/ 7257 h 10000"/>
                <a:gd name="connsiteX7" fmla="*/ 1 w 10000"/>
                <a:gd name="connsiteY7" fmla="*/ 4334 h 10000"/>
                <a:gd name="connsiteX8" fmla="*/ 4974 w 10000"/>
                <a:gd name="connsiteY8" fmla="*/ 1 h 10000"/>
                <a:gd name="connsiteX9" fmla="*/ 10000 w 10000"/>
                <a:gd name="connsiteY9" fmla="*/ 429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10000" y="4290"/>
                  </a:moveTo>
                  <a:cubicBezTo>
                    <a:pt x="10000" y="5443"/>
                    <a:pt x="9465" y="6496"/>
                    <a:pt x="8604" y="7257"/>
                  </a:cubicBezTo>
                  <a:cubicBezTo>
                    <a:pt x="7938" y="7850"/>
                    <a:pt x="7520" y="8600"/>
                    <a:pt x="7376" y="9396"/>
                  </a:cubicBezTo>
                  <a:cubicBezTo>
                    <a:pt x="7311" y="9742"/>
                    <a:pt x="6958" y="10000"/>
                    <a:pt x="6554" y="10000"/>
                  </a:cubicBezTo>
                  <a:cubicBezTo>
                    <a:pt x="5519" y="10000"/>
                    <a:pt x="4483" y="9637"/>
                    <a:pt x="3448" y="10000"/>
                  </a:cubicBezTo>
                  <a:cubicBezTo>
                    <a:pt x="3043" y="10000"/>
                    <a:pt x="2690" y="9742"/>
                    <a:pt x="2638" y="9407"/>
                  </a:cubicBezTo>
                  <a:cubicBezTo>
                    <a:pt x="2494" y="8600"/>
                    <a:pt x="2063" y="7839"/>
                    <a:pt x="1397" y="7257"/>
                  </a:cubicBezTo>
                  <a:cubicBezTo>
                    <a:pt x="549" y="6496"/>
                    <a:pt x="14" y="5465"/>
                    <a:pt x="1" y="4334"/>
                  </a:cubicBezTo>
                  <a:cubicBezTo>
                    <a:pt x="-25" y="1949"/>
                    <a:pt x="2194" y="13"/>
                    <a:pt x="4974" y="1"/>
                  </a:cubicBezTo>
                  <a:cubicBezTo>
                    <a:pt x="7741" y="-21"/>
                    <a:pt x="10000" y="1905"/>
                    <a:pt x="10000" y="4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a:extLst>
                <a:ext uri="{FF2B5EF4-FFF2-40B4-BE49-F238E27FC236}">
                  <a16:creationId xmlns:a16="http://schemas.microsoft.com/office/drawing/2014/main" id="{3FD78B01-DF64-4A10-8A8E-C4FDB7CE6AE0}"/>
                </a:ext>
              </a:extLst>
            </p:cNvPr>
            <p:cNvSpPr>
              <a:spLocks/>
            </p:cNvSpPr>
            <p:nvPr/>
          </p:nvSpPr>
          <p:spPr bwMode="auto">
            <a:xfrm>
              <a:off x="-1119188" y="4048125"/>
              <a:ext cx="120650" cy="120650"/>
            </a:xfrm>
            <a:custGeom>
              <a:avLst/>
              <a:gdLst>
                <a:gd name="T0" fmla="*/ 319 w 319"/>
                <a:gd name="T1" fmla="*/ 44 h 320"/>
                <a:gd name="T2" fmla="*/ 276 w 319"/>
                <a:gd name="T3" fmla="*/ 0 h 320"/>
                <a:gd name="T4" fmla="*/ 0 w 319"/>
                <a:gd name="T5" fmla="*/ 277 h 320"/>
                <a:gd name="T6" fmla="*/ 43 w 319"/>
                <a:gd name="T7" fmla="*/ 320 h 320"/>
                <a:gd name="T8" fmla="*/ 86 w 319"/>
                <a:gd name="T9" fmla="*/ 277 h 320"/>
                <a:gd name="T10" fmla="*/ 276 w 319"/>
                <a:gd name="T11" fmla="*/ 87 h 320"/>
                <a:gd name="T12" fmla="*/ 319 w 319"/>
                <a:gd name="T13" fmla="*/ 44 h 320"/>
              </a:gdLst>
              <a:ahLst/>
              <a:cxnLst>
                <a:cxn ang="0">
                  <a:pos x="T0" y="T1"/>
                </a:cxn>
                <a:cxn ang="0">
                  <a:pos x="T2" y="T3"/>
                </a:cxn>
                <a:cxn ang="0">
                  <a:pos x="T4" y="T5"/>
                </a:cxn>
                <a:cxn ang="0">
                  <a:pos x="T6" y="T7"/>
                </a:cxn>
                <a:cxn ang="0">
                  <a:pos x="T8" y="T9"/>
                </a:cxn>
                <a:cxn ang="0">
                  <a:pos x="T10" y="T11"/>
                </a:cxn>
                <a:cxn ang="0">
                  <a:pos x="T12" y="T13"/>
                </a:cxn>
              </a:cxnLst>
              <a:rect l="0" t="0" r="r" b="b"/>
              <a:pathLst>
                <a:path w="319" h="320">
                  <a:moveTo>
                    <a:pt x="319" y="44"/>
                  </a:moveTo>
                  <a:cubicBezTo>
                    <a:pt x="319" y="20"/>
                    <a:pt x="300" y="0"/>
                    <a:pt x="276" y="0"/>
                  </a:cubicBezTo>
                  <a:cubicBezTo>
                    <a:pt x="124" y="0"/>
                    <a:pt x="0" y="124"/>
                    <a:pt x="0" y="277"/>
                  </a:cubicBezTo>
                  <a:cubicBezTo>
                    <a:pt x="0" y="301"/>
                    <a:pt x="19" y="320"/>
                    <a:pt x="43" y="320"/>
                  </a:cubicBezTo>
                  <a:cubicBezTo>
                    <a:pt x="67" y="320"/>
                    <a:pt x="86" y="301"/>
                    <a:pt x="86" y="277"/>
                  </a:cubicBezTo>
                  <a:cubicBezTo>
                    <a:pt x="86" y="172"/>
                    <a:pt x="172" y="87"/>
                    <a:pt x="276" y="87"/>
                  </a:cubicBezTo>
                  <a:cubicBezTo>
                    <a:pt x="300" y="87"/>
                    <a:pt x="319" y="68"/>
                    <a:pt x="319" y="4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a:extLst>
                <a:ext uri="{FF2B5EF4-FFF2-40B4-BE49-F238E27FC236}">
                  <a16:creationId xmlns:a16="http://schemas.microsoft.com/office/drawing/2014/main" id="{90FF378E-98EC-4647-AB06-CAC7E625B6E4}"/>
                </a:ext>
              </a:extLst>
            </p:cNvPr>
            <p:cNvSpPr>
              <a:spLocks/>
            </p:cNvSpPr>
            <p:nvPr/>
          </p:nvSpPr>
          <p:spPr bwMode="auto">
            <a:xfrm>
              <a:off x="-1030288" y="3870325"/>
              <a:ext cx="31750" cy="90488"/>
            </a:xfrm>
            <a:custGeom>
              <a:avLst/>
              <a:gdLst>
                <a:gd name="T0" fmla="*/ 43 w 86"/>
                <a:gd name="T1" fmla="*/ 238 h 238"/>
                <a:gd name="T2" fmla="*/ 86 w 86"/>
                <a:gd name="T3" fmla="*/ 195 h 238"/>
                <a:gd name="T4" fmla="*/ 86 w 86"/>
                <a:gd name="T5" fmla="*/ 43 h 238"/>
                <a:gd name="T6" fmla="*/ 43 w 86"/>
                <a:gd name="T7" fmla="*/ 0 h 238"/>
                <a:gd name="T8" fmla="*/ 0 w 86"/>
                <a:gd name="T9" fmla="*/ 43 h 238"/>
                <a:gd name="T10" fmla="*/ 0 w 86"/>
                <a:gd name="T11" fmla="*/ 195 h 238"/>
                <a:gd name="T12" fmla="*/ 43 w 86"/>
                <a:gd name="T13" fmla="*/ 238 h 238"/>
              </a:gdLst>
              <a:ahLst/>
              <a:cxnLst>
                <a:cxn ang="0">
                  <a:pos x="T0" y="T1"/>
                </a:cxn>
                <a:cxn ang="0">
                  <a:pos x="T2" y="T3"/>
                </a:cxn>
                <a:cxn ang="0">
                  <a:pos x="T4" y="T5"/>
                </a:cxn>
                <a:cxn ang="0">
                  <a:pos x="T6" y="T7"/>
                </a:cxn>
                <a:cxn ang="0">
                  <a:pos x="T8" y="T9"/>
                </a:cxn>
                <a:cxn ang="0">
                  <a:pos x="T10" y="T11"/>
                </a:cxn>
                <a:cxn ang="0">
                  <a:pos x="T12" y="T13"/>
                </a:cxn>
              </a:cxnLst>
              <a:rect l="0" t="0" r="r" b="b"/>
              <a:pathLst>
                <a:path w="86" h="238">
                  <a:moveTo>
                    <a:pt x="43" y="238"/>
                  </a:moveTo>
                  <a:cubicBezTo>
                    <a:pt x="67" y="238"/>
                    <a:pt x="86" y="219"/>
                    <a:pt x="86" y="195"/>
                  </a:cubicBezTo>
                  <a:cubicBezTo>
                    <a:pt x="86" y="43"/>
                    <a:pt x="86" y="43"/>
                    <a:pt x="86" y="43"/>
                  </a:cubicBezTo>
                  <a:cubicBezTo>
                    <a:pt x="86" y="20"/>
                    <a:pt x="67" y="0"/>
                    <a:pt x="43" y="0"/>
                  </a:cubicBezTo>
                  <a:cubicBezTo>
                    <a:pt x="19" y="0"/>
                    <a:pt x="0" y="19"/>
                    <a:pt x="0" y="43"/>
                  </a:cubicBezTo>
                  <a:cubicBezTo>
                    <a:pt x="0" y="195"/>
                    <a:pt x="0" y="195"/>
                    <a:pt x="0" y="195"/>
                  </a:cubicBezTo>
                  <a:cubicBezTo>
                    <a:pt x="0" y="219"/>
                    <a:pt x="20" y="238"/>
                    <a:pt x="43"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a:extLst>
                <a:ext uri="{FF2B5EF4-FFF2-40B4-BE49-F238E27FC236}">
                  <a16:creationId xmlns:a16="http://schemas.microsoft.com/office/drawing/2014/main" id="{598C87CB-ED40-4276-83B1-AE13F08F5BFA}"/>
                </a:ext>
              </a:extLst>
            </p:cNvPr>
            <p:cNvSpPr>
              <a:spLocks/>
            </p:cNvSpPr>
            <p:nvPr/>
          </p:nvSpPr>
          <p:spPr bwMode="auto">
            <a:xfrm>
              <a:off x="-1295400" y="4135438"/>
              <a:ext cx="88900" cy="31750"/>
            </a:xfrm>
            <a:custGeom>
              <a:avLst/>
              <a:gdLst>
                <a:gd name="T0" fmla="*/ 238 w 238"/>
                <a:gd name="T1" fmla="*/ 43 h 86"/>
                <a:gd name="T2" fmla="*/ 195 w 238"/>
                <a:gd name="T3" fmla="*/ 0 h 86"/>
                <a:gd name="T4" fmla="*/ 43 w 238"/>
                <a:gd name="T5" fmla="*/ 0 h 86"/>
                <a:gd name="T6" fmla="*/ 0 w 238"/>
                <a:gd name="T7" fmla="*/ 43 h 86"/>
                <a:gd name="T8" fmla="*/ 43 w 238"/>
                <a:gd name="T9" fmla="*/ 86 h 86"/>
                <a:gd name="T10" fmla="*/ 195 w 238"/>
                <a:gd name="T11" fmla="*/ 86 h 86"/>
                <a:gd name="T12" fmla="*/ 238 w 238"/>
                <a:gd name="T13" fmla="*/ 43 h 86"/>
              </a:gdLst>
              <a:ahLst/>
              <a:cxnLst>
                <a:cxn ang="0">
                  <a:pos x="T0" y="T1"/>
                </a:cxn>
                <a:cxn ang="0">
                  <a:pos x="T2" y="T3"/>
                </a:cxn>
                <a:cxn ang="0">
                  <a:pos x="T4" y="T5"/>
                </a:cxn>
                <a:cxn ang="0">
                  <a:pos x="T6" y="T7"/>
                </a:cxn>
                <a:cxn ang="0">
                  <a:pos x="T8" y="T9"/>
                </a:cxn>
                <a:cxn ang="0">
                  <a:pos x="T10" y="T11"/>
                </a:cxn>
                <a:cxn ang="0">
                  <a:pos x="T12" y="T13"/>
                </a:cxn>
              </a:cxnLst>
              <a:rect l="0" t="0" r="r" b="b"/>
              <a:pathLst>
                <a:path w="238" h="86">
                  <a:moveTo>
                    <a:pt x="238" y="43"/>
                  </a:moveTo>
                  <a:cubicBezTo>
                    <a:pt x="238" y="20"/>
                    <a:pt x="219" y="0"/>
                    <a:pt x="195" y="0"/>
                  </a:cubicBezTo>
                  <a:cubicBezTo>
                    <a:pt x="43" y="0"/>
                    <a:pt x="43" y="0"/>
                    <a:pt x="43" y="0"/>
                  </a:cubicBezTo>
                  <a:cubicBezTo>
                    <a:pt x="20" y="0"/>
                    <a:pt x="0" y="19"/>
                    <a:pt x="0" y="43"/>
                  </a:cubicBezTo>
                  <a:cubicBezTo>
                    <a:pt x="0" y="67"/>
                    <a:pt x="19" y="86"/>
                    <a:pt x="43" y="86"/>
                  </a:cubicBezTo>
                  <a:cubicBezTo>
                    <a:pt x="195" y="86"/>
                    <a:pt x="195" y="86"/>
                    <a:pt x="195" y="86"/>
                  </a:cubicBezTo>
                  <a:cubicBezTo>
                    <a:pt x="219" y="86"/>
                    <a:pt x="238" y="67"/>
                    <a:pt x="238" y="4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a:extLst>
                <a:ext uri="{FF2B5EF4-FFF2-40B4-BE49-F238E27FC236}">
                  <a16:creationId xmlns:a16="http://schemas.microsoft.com/office/drawing/2014/main" id="{B2C76E23-C31C-4B19-8AD7-54E0A38D9072}"/>
                </a:ext>
              </a:extLst>
            </p:cNvPr>
            <p:cNvSpPr>
              <a:spLocks/>
            </p:cNvSpPr>
            <p:nvPr/>
          </p:nvSpPr>
          <p:spPr bwMode="auto">
            <a:xfrm>
              <a:off x="-822325" y="4135438"/>
              <a:ext cx="88900" cy="31750"/>
            </a:xfrm>
            <a:custGeom>
              <a:avLst/>
              <a:gdLst>
                <a:gd name="T0" fmla="*/ 194 w 237"/>
                <a:gd name="T1" fmla="*/ 0 h 86"/>
                <a:gd name="T2" fmla="*/ 43 w 237"/>
                <a:gd name="T3" fmla="*/ 0 h 86"/>
                <a:gd name="T4" fmla="*/ 0 w 237"/>
                <a:gd name="T5" fmla="*/ 43 h 86"/>
                <a:gd name="T6" fmla="*/ 43 w 237"/>
                <a:gd name="T7" fmla="*/ 86 h 86"/>
                <a:gd name="T8" fmla="*/ 194 w 237"/>
                <a:gd name="T9" fmla="*/ 86 h 86"/>
                <a:gd name="T10" fmla="*/ 237 w 237"/>
                <a:gd name="T11" fmla="*/ 43 h 86"/>
                <a:gd name="T12" fmla="*/ 194 w 237"/>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237" h="86">
                  <a:moveTo>
                    <a:pt x="194" y="0"/>
                  </a:moveTo>
                  <a:cubicBezTo>
                    <a:pt x="43" y="0"/>
                    <a:pt x="43" y="0"/>
                    <a:pt x="43" y="0"/>
                  </a:cubicBezTo>
                  <a:cubicBezTo>
                    <a:pt x="19" y="0"/>
                    <a:pt x="0" y="19"/>
                    <a:pt x="0" y="43"/>
                  </a:cubicBezTo>
                  <a:cubicBezTo>
                    <a:pt x="0" y="67"/>
                    <a:pt x="19" y="86"/>
                    <a:pt x="43" y="86"/>
                  </a:cubicBezTo>
                  <a:cubicBezTo>
                    <a:pt x="194" y="86"/>
                    <a:pt x="194" y="86"/>
                    <a:pt x="194" y="86"/>
                  </a:cubicBezTo>
                  <a:cubicBezTo>
                    <a:pt x="218" y="86"/>
                    <a:pt x="237" y="67"/>
                    <a:pt x="237" y="43"/>
                  </a:cubicBezTo>
                  <a:cubicBezTo>
                    <a:pt x="237" y="20"/>
                    <a:pt x="218" y="0"/>
                    <a:pt x="194"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a:extLst>
                <a:ext uri="{FF2B5EF4-FFF2-40B4-BE49-F238E27FC236}">
                  <a16:creationId xmlns:a16="http://schemas.microsoft.com/office/drawing/2014/main" id="{CF77DD39-45C5-45EA-9DAF-5DFCA5916CD3}"/>
                </a:ext>
              </a:extLst>
            </p:cNvPr>
            <p:cNvSpPr>
              <a:spLocks/>
            </p:cNvSpPr>
            <p:nvPr/>
          </p:nvSpPr>
          <p:spPr bwMode="auto">
            <a:xfrm>
              <a:off x="-1219200" y="4281488"/>
              <a:ext cx="76200" cy="74613"/>
            </a:xfrm>
            <a:custGeom>
              <a:avLst/>
              <a:gdLst>
                <a:gd name="T0" fmla="*/ 124 w 202"/>
                <a:gd name="T1" fmla="*/ 17 h 198"/>
                <a:gd name="T2" fmla="*/ 17 w 202"/>
                <a:gd name="T3" fmla="*/ 124 h 198"/>
                <a:gd name="T4" fmla="*/ 17 w 202"/>
                <a:gd name="T5" fmla="*/ 185 h 198"/>
                <a:gd name="T6" fmla="*/ 47 w 202"/>
                <a:gd name="T7" fmla="*/ 198 h 198"/>
                <a:gd name="T8" fmla="*/ 77 w 202"/>
                <a:gd name="T9" fmla="*/ 185 h 198"/>
                <a:gd name="T10" fmla="*/ 185 w 202"/>
                <a:gd name="T11" fmla="*/ 78 h 198"/>
                <a:gd name="T12" fmla="*/ 185 w 202"/>
                <a:gd name="T13" fmla="*/ 17 h 198"/>
                <a:gd name="T14" fmla="*/ 124 w 202"/>
                <a:gd name="T15" fmla="*/ 17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198">
                  <a:moveTo>
                    <a:pt x="124" y="17"/>
                  </a:moveTo>
                  <a:cubicBezTo>
                    <a:pt x="17" y="124"/>
                    <a:pt x="17" y="124"/>
                    <a:pt x="17" y="124"/>
                  </a:cubicBezTo>
                  <a:cubicBezTo>
                    <a:pt x="0" y="141"/>
                    <a:pt x="0" y="168"/>
                    <a:pt x="17" y="185"/>
                  </a:cubicBezTo>
                  <a:cubicBezTo>
                    <a:pt x="25" y="194"/>
                    <a:pt x="36" y="198"/>
                    <a:pt x="47" y="198"/>
                  </a:cubicBezTo>
                  <a:cubicBezTo>
                    <a:pt x="58" y="198"/>
                    <a:pt x="69" y="194"/>
                    <a:pt x="77" y="185"/>
                  </a:cubicBezTo>
                  <a:cubicBezTo>
                    <a:pt x="185" y="78"/>
                    <a:pt x="185" y="78"/>
                    <a:pt x="185" y="78"/>
                  </a:cubicBezTo>
                  <a:cubicBezTo>
                    <a:pt x="202" y="61"/>
                    <a:pt x="202" y="34"/>
                    <a:pt x="185" y="17"/>
                  </a:cubicBezTo>
                  <a:cubicBezTo>
                    <a:pt x="168" y="0"/>
                    <a:pt x="140" y="0"/>
                    <a:pt x="124" y="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a:extLst>
                <a:ext uri="{FF2B5EF4-FFF2-40B4-BE49-F238E27FC236}">
                  <a16:creationId xmlns:a16="http://schemas.microsoft.com/office/drawing/2014/main" id="{CDDE7F0F-99F1-458D-AA4E-1D6AFFDABDCE}"/>
                </a:ext>
              </a:extLst>
            </p:cNvPr>
            <p:cNvSpPr>
              <a:spLocks/>
            </p:cNvSpPr>
            <p:nvPr/>
          </p:nvSpPr>
          <p:spPr bwMode="auto">
            <a:xfrm>
              <a:off x="-885825" y="3946525"/>
              <a:ext cx="76200" cy="74613"/>
            </a:xfrm>
            <a:custGeom>
              <a:avLst/>
              <a:gdLst>
                <a:gd name="T0" fmla="*/ 47 w 202"/>
                <a:gd name="T1" fmla="*/ 197 h 197"/>
                <a:gd name="T2" fmla="*/ 78 w 202"/>
                <a:gd name="T3" fmla="*/ 185 h 197"/>
                <a:gd name="T4" fmla="*/ 185 w 202"/>
                <a:gd name="T5" fmla="*/ 78 h 197"/>
                <a:gd name="T6" fmla="*/ 185 w 202"/>
                <a:gd name="T7" fmla="*/ 17 h 197"/>
                <a:gd name="T8" fmla="*/ 124 w 202"/>
                <a:gd name="T9" fmla="*/ 17 h 197"/>
                <a:gd name="T10" fmla="*/ 17 w 202"/>
                <a:gd name="T11" fmla="*/ 124 h 197"/>
                <a:gd name="T12" fmla="*/ 17 w 202"/>
                <a:gd name="T13" fmla="*/ 185 h 197"/>
                <a:gd name="T14" fmla="*/ 47 w 202"/>
                <a:gd name="T15" fmla="*/ 197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197">
                  <a:moveTo>
                    <a:pt x="47" y="197"/>
                  </a:moveTo>
                  <a:cubicBezTo>
                    <a:pt x="58" y="197"/>
                    <a:pt x="69" y="193"/>
                    <a:pt x="78" y="185"/>
                  </a:cubicBezTo>
                  <a:cubicBezTo>
                    <a:pt x="185" y="78"/>
                    <a:pt x="185" y="78"/>
                    <a:pt x="185" y="78"/>
                  </a:cubicBezTo>
                  <a:cubicBezTo>
                    <a:pt x="202" y="61"/>
                    <a:pt x="202" y="34"/>
                    <a:pt x="185" y="17"/>
                  </a:cubicBezTo>
                  <a:cubicBezTo>
                    <a:pt x="168" y="0"/>
                    <a:pt x="141" y="0"/>
                    <a:pt x="124" y="17"/>
                  </a:cubicBezTo>
                  <a:cubicBezTo>
                    <a:pt x="17" y="124"/>
                    <a:pt x="17" y="124"/>
                    <a:pt x="17" y="124"/>
                  </a:cubicBezTo>
                  <a:cubicBezTo>
                    <a:pt x="0" y="141"/>
                    <a:pt x="0" y="168"/>
                    <a:pt x="17" y="185"/>
                  </a:cubicBezTo>
                  <a:cubicBezTo>
                    <a:pt x="25" y="193"/>
                    <a:pt x="36" y="197"/>
                    <a:pt x="47" y="19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a:extLst>
                <a:ext uri="{FF2B5EF4-FFF2-40B4-BE49-F238E27FC236}">
                  <a16:creationId xmlns:a16="http://schemas.microsoft.com/office/drawing/2014/main" id="{6169317F-CD2A-4E33-B8D0-521F0FF8FE0C}"/>
                </a:ext>
              </a:extLst>
            </p:cNvPr>
            <p:cNvSpPr>
              <a:spLocks/>
            </p:cNvSpPr>
            <p:nvPr/>
          </p:nvSpPr>
          <p:spPr bwMode="auto">
            <a:xfrm>
              <a:off x="-1219200" y="3946525"/>
              <a:ext cx="76200" cy="74613"/>
            </a:xfrm>
            <a:custGeom>
              <a:avLst/>
              <a:gdLst>
                <a:gd name="T0" fmla="*/ 125 w 203"/>
                <a:gd name="T1" fmla="*/ 186 h 198"/>
                <a:gd name="T2" fmla="*/ 155 w 203"/>
                <a:gd name="T3" fmla="*/ 198 h 198"/>
                <a:gd name="T4" fmla="*/ 186 w 203"/>
                <a:gd name="T5" fmla="*/ 186 h 198"/>
                <a:gd name="T6" fmla="*/ 186 w 203"/>
                <a:gd name="T7" fmla="*/ 124 h 198"/>
                <a:gd name="T8" fmla="*/ 78 w 203"/>
                <a:gd name="T9" fmla="*/ 17 h 198"/>
                <a:gd name="T10" fmla="*/ 17 w 203"/>
                <a:gd name="T11" fmla="*/ 17 h 198"/>
                <a:gd name="T12" fmla="*/ 17 w 203"/>
                <a:gd name="T13" fmla="*/ 78 h 198"/>
                <a:gd name="T14" fmla="*/ 125 w 203"/>
                <a:gd name="T15" fmla="*/ 186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3" h="198">
                  <a:moveTo>
                    <a:pt x="125" y="186"/>
                  </a:moveTo>
                  <a:cubicBezTo>
                    <a:pt x="133" y="194"/>
                    <a:pt x="144" y="198"/>
                    <a:pt x="155" y="198"/>
                  </a:cubicBezTo>
                  <a:cubicBezTo>
                    <a:pt x="166" y="198"/>
                    <a:pt x="177" y="194"/>
                    <a:pt x="186" y="186"/>
                  </a:cubicBezTo>
                  <a:cubicBezTo>
                    <a:pt x="203" y="169"/>
                    <a:pt x="203" y="141"/>
                    <a:pt x="186" y="124"/>
                  </a:cubicBezTo>
                  <a:cubicBezTo>
                    <a:pt x="78" y="17"/>
                    <a:pt x="78" y="17"/>
                    <a:pt x="78" y="17"/>
                  </a:cubicBezTo>
                  <a:cubicBezTo>
                    <a:pt x="61" y="0"/>
                    <a:pt x="34" y="0"/>
                    <a:pt x="17" y="17"/>
                  </a:cubicBezTo>
                  <a:cubicBezTo>
                    <a:pt x="0" y="34"/>
                    <a:pt x="0" y="61"/>
                    <a:pt x="17" y="78"/>
                  </a:cubicBezTo>
                  <a:lnTo>
                    <a:pt x="125" y="18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a:extLst>
                <a:ext uri="{FF2B5EF4-FFF2-40B4-BE49-F238E27FC236}">
                  <a16:creationId xmlns:a16="http://schemas.microsoft.com/office/drawing/2014/main" id="{D7FC4756-B0D3-4025-A26A-814B9553EC8F}"/>
                </a:ext>
              </a:extLst>
            </p:cNvPr>
            <p:cNvSpPr>
              <a:spLocks/>
            </p:cNvSpPr>
            <p:nvPr/>
          </p:nvSpPr>
          <p:spPr bwMode="auto">
            <a:xfrm>
              <a:off x="-885825" y="4281488"/>
              <a:ext cx="76200" cy="74613"/>
            </a:xfrm>
            <a:custGeom>
              <a:avLst/>
              <a:gdLst>
                <a:gd name="T0" fmla="*/ 78 w 202"/>
                <a:gd name="T1" fmla="*/ 17 h 198"/>
                <a:gd name="T2" fmla="*/ 17 w 202"/>
                <a:gd name="T3" fmla="*/ 17 h 198"/>
                <a:gd name="T4" fmla="*/ 17 w 202"/>
                <a:gd name="T5" fmla="*/ 78 h 198"/>
                <a:gd name="T6" fmla="*/ 124 w 202"/>
                <a:gd name="T7" fmla="*/ 185 h 198"/>
                <a:gd name="T8" fmla="*/ 154 w 202"/>
                <a:gd name="T9" fmla="*/ 198 h 198"/>
                <a:gd name="T10" fmla="*/ 185 w 202"/>
                <a:gd name="T11" fmla="*/ 185 h 198"/>
                <a:gd name="T12" fmla="*/ 185 w 202"/>
                <a:gd name="T13" fmla="*/ 124 h 198"/>
                <a:gd name="T14" fmla="*/ 78 w 202"/>
                <a:gd name="T15" fmla="*/ 17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2" h="198">
                  <a:moveTo>
                    <a:pt x="78" y="17"/>
                  </a:moveTo>
                  <a:cubicBezTo>
                    <a:pt x="61" y="0"/>
                    <a:pt x="34" y="0"/>
                    <a:pt x="17" y="17"/>
                  </a:cubicBezTo>
                  <a:cubicBezTo>
                    <a:pt x="0" y="34"/>
                    <a:pt x="0" y="61"/>
                    <a:pt x="17" y="78"/>
                  </a:cubicBezTo>
                  <a:cubicBezTo>
                    <a:pt x="124" y="185"/>
                    <a:pt x="124" y="185"/>
                    <a:pt x="124" y="185"/>
                  </a:cubicBezTo>
                  <a:cubicBezTo>
                    <a:pt x="132" y="194"/>
                    <a:pt x="143" y="198"/>
                    <a:pt x="154" y="198"/>
                  </a:cubicBezTo>
                  <a:cubicBezTo>
                    <a:pt x="165" y="198"/>
                    <a:pt x="176" y="194"/>
                    <a:pt x="185" y="185"/>
                  </a:cubicBezTo>
                  <a:cubicBezTo>
                    <a:pt x="202" y="168"/>
                    <a:pt x="202" y="141"/>
                    <a:pt x="185" y="124"/>
                  </a:cubicBezTo>
                  <a:lnTo>
                    <a:pt x="78" y="1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Line 19">
              <a:extLst>
                <a:ext uri="{FF2B5EF4-FFF2-40B4-BE49-F238E27FC236}">
                  <a16:creationId xmlns:a16="http://schemas.microsoft.com/office/drawing/2014/main" id="{FE6A356B-EB26-428C-BDB8-39E2E7187813}"/>
                </a:ext>
              </a:extLst>
            </p:cNvPr>
            <p:cNvSpPr>
              <a:spLocks noChangeShapeType="1"/>
            </p:cNvSpPr>
            <p:nvPr/>
          </p:nvSpPr>
          <p:spPr bwMode="auto">
            <a:xfrm>
              <a:off x="-855663" y="42878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Line 20">
              <a:extLst>
                <a:ext uri="{FF2B5EF4-FFF2-40B4-BE49-F238E27FC236}">
                  <a16:creationId xmlns:a16="http://schemas.microsoft.com/office/drawing/2014/main" id="{17995CF5-D23B-4B93-BEBF-5C0CD47E292E}"/>
                </a:ext>
              </a:extLst>
            </p:cNvPr>
            <p:cNvSpPr>
              <a:spLocks noChangeShapeType="1"/>
            </p:cNvSpPr>
            <p:nvPr/>
          </p:nvSpPr>
          <p:spPr bwMode="auto">
            <a:xfrm>
              <a:off x="-855663" y="42878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a:extLst>
                <a:ext uri="{FF2B5EF4-FFF2-40B4-BE49-F238E27FC236}">
                  <a16:creationId xmlns:a16="http://schemas.microsoft.com/office/drawing/2014/main" id="{BF5B6A5E-FB51-48BF-BF73-231EE0D25436}"/>
                </a:ext>
              </a:extLst>
            </p:cNvPr>
            <p:cNvSpPr>
              <a:spLocks/>
            </p:cNvSpPr>
            <p:nvPr/>
          </p:nvSpPr>
          <p:spPr bwMode="auto">
            <a:xfrm>
              <a:off x="-1081088" y="4362421"/>
              <a:ext cx="133350" cy="93691"/>
            </a:xfrm>
            <a:custGeom>
              <a:avLst/>
              <a:gdLst>
                <a:gd name="T0" fmla="*/ 311 w 355"/>
                <a:gd name="T1" fmla="*/ 0 h 240"/>
                <a:gd name="T2" fmla="*/ 43 w 355"/>
                <a:gd name="T3" fmla="*/ 0 h 240"/>
                <a:gd name="T4" fmla="*/ 0 w 355"/>
                <a:gd name="T5" fmla="*/ 44 h 240"/>
                <a:gd name="T6" fmla="*/ 0 w 355"/>
                <a:gd name="T7" fmla="*/ 89 h 240"/>
                <a:gd name="T8" fmla="*/ 61 w 355"/>
                <a:gd name="T9" fmla="*/ 161 h 240"/>
                <a:gd name="T10" fmla="*/ 72 w 355"/>
                <a:gd name="T11" fmla="*/ 202 h 240"/>
                <a:gd name="T12" fmla="*/ 122 w 355"/>
                <a:gd name="T13" fmla="*/ 240 h 240"/>
                <a:gd name="T14" fmla="*/ 172 w 355"/>
                <a:gd name="T15" fmla="*/ 240 h 240"/>
                <a:gd name="T16" fmla="*/ 233 w 355"/>
                <a:gd name="T17" fmla="*/ 240 h 240"/>
                <a:gd name="T18" fmla="*/ 292 w 355"/>
                <a:gd name="T19" fmla="*/ 240 h 240"/>
                <a:gd name="T20" fmla="*/ 292 w 355"/>
                <a:gd name="T21" fmla="*/ 165 h 240"/>
                <a:gd name="T22" fmla="*/ 293 w 355"/>
                <a:gd name="T23" fmla="*/ 161 h 240"/>
                <a:gd name="T24" fmla="*/ 355 w 355"/>
                <a:gd name="T25" fmla="*/ 89 h 240"/>
                <a:gd name="T26" fmla="*/ 355 w 355"/>
                <a:gd name="T27" fmla="*/ 44 h 240"/>
                <a:gd name="T28" fmla="*/ 311 w 355"/>
                <a:gd name="T29" fmla="*/ 0 h 240"/>
                <a:gd name="connsiteX0" fmla="*/ 8761 w 10000"/>
                <a:gd name="connsiteY0" fmla="*/ 0 h 10000"/>
                <a:gd name="connsiteX1" fmla="*/ 1211 w 10000"/>
                <a:gd name="connsiteY1" fmla="*/ 0 h 10000"/>
                <a:gd name="connsiteX2" fmla="*/ 0 w 10000"/>
                <a:gd name="connsiteY2" fmla="*/ 1833 h 10000"/>
                <a:gd name="connsiteX3" fmla="*/ 0 w 10000"/>
                <a:gd name="connsiteY3" fmla="*/ 3708 h 10000"/>
                <a:gd name="connsiteX4" fmla="*/ 1718 w 10000"/>
                <a:gd name="connsiteY4" fmla="*/ 6708 h 10000"/>
                <a:gd name="connsiteX5" fmla="*/ 2028 w 10000"/>
                <a:gd name="connsiteY5" fmla="*/ 8417 h 10000"/>
                <a:gd name="connsiteX6" fmla="*/ 3437 w 10000"/>
                <a:gd name="connsiteY6" fmla="*/ 10000 h 10000"/>
                <a:gd name="connsiteX7" fmla="*/ 4845 w 10000"/>
                <a:gd name="connsiteY7" fmla="*/ 10000 h 10000"/>
                <a:gd name="connsiteX8" fmla="*/ 6563 w 10000"/>
                <a:gd name="connsiteY8" fmla="*/ 10000 h 10000"/>
                <a:gd name="connsiteX9" fmla="*/ 8225 w 10000"/>
                <a:gd name="connsiteY9" fmla="*/ 10000 h 10000"/>
                <a:gd name="connsiteX10" fmla="*/ 8225 w 10000"/>
                <a:gd name="connsiteY10" fmla="*/ 6875 h 10000"/>
                <a:gd name="connsiteX11" fmla="*/ 8254 w 10000"/>
                <a:gd name="connsiteY11" fmla="*/ 6708 h 10000"/>
                <a:gd name="connsiteX12" fmla="*/ 10000 w 10000"/>
                <a:gd name="connsiteY12" fmla="*/ 3708 h 10000"/>
                <a:gd name="connsiteX13" fmla="*/ 10000 w 10000"/>
                <a:gd name="connsiteY13" fmla="*/ 1833 h 10000"/>
                <a:gd name="connsiteX14" fmla="*/ 8761 w 10000"/>
                <a:gd name="connsiteY14" fmla="*/ 0 h 10000"/>
                <a:gd name="connsiteX0" fmla="*/ 8761 w 10000"/>
                <a:gd name="connsiteY0" fmla="*/ 0 h 10000"/>
                <a:gd name="connsiteX1" fmla="*/ 1211 w 10000"/>
                <a:gd name="connsiteY1" fmla="*/ 0 h 10000"/>
                <a:gd name="connsiteX2" fmla="*/ 0 w 10000"/>
                <a:gd name="connsiteY2" fmla="*/ 1833 h 10000"/>
                <a:gd name="connsiteX3" fmla="*/ 0 w 10000"/>
                <a:gd name="connsiteY3" fmla="*/ 3708 h 10000"/>
                <a:gd name="connsiteX4" fmla="*/ 1718 w 10000"/>
                <a:gd name="connsiteY4" fmla="*/ 6708 h 10000"/>
                <a:gd name="connsiteX5" fmla="*/ 2028 w 10000"/>
                <a:gd name="connsiteY5" fmla="*/ 8417 h 10000"/>
                <a:gd name="connsiteX6" fmla="*/ 3437 w 10000"/>
                <a:gd name="connsiteY6" fmla="*/ 10000 h 10000"/>
                <a:gd name="connsiteX7" fmla="*/ 4845 w 10000"/>
                <a:gd name="connsiteY7" fmla="*/ 10000 h 10000"/>
                <a:gd name="connsiteX8" fmla="*/ 6563 w 10000"/>
                <a:gd name="connsiteY8" fmla="*/ 10000 h 10000"/>
                <a:gd name="connsiteX9" fmla="*/ 8225 w 10000"/>
                <a:gd name="connsiteY9" fmla="*/ 10000 h 10000"/>
                <a:gd name="connsiteX10" fmla="*/ 8225 w 10000"/>
                <a:gd name="connsiteY10" fmla="*/ 6875 h 10000"/>
                <a:gd name="connsiteX11" fmla="*/ 8254 w 10000"/>
                <a:gd name="connsiteY11" fmla="*/ 6708 h 10000"/>
                <a:gd name="connsiteX12" fmla="*/ 10000 w 10000"/>
                <a:gd name="connsiteY12" fmla="*/ 3708 h 10000"/>
                <a:gd name="connsiteX13" fmla="*/ 10000 w 10000"/>
                <a:gd name="connsiteY13" fmla="*/ 1833 h 10000"/>
                <a:gd name="connsiteX14" fmla="*/ 8761 w 10000"/>
                <a:gd name="connsiteY14" fmla="*/ 0 h 10000"/>
                <a:gd name="connsiteX0" fmla="*/ 8761 w 10000"/>
                <a:gd name="connsiteY0" fmla="*/ 656 h 10656"/>
                <a:gd name="connsiteX1" fmla="*/ 1211 w 10000"/>
                <a:gd name="connsiteY1" fmla="*/ 656 h 10656"/>
                <a:gd name="connsiteX2" fmla="*/ 0 w 10000"/>
                <a:gd name="connsiteY2" fmla="*/ 2489 h 10656"/>
                <a:gd name="connsiteX3" fmla="*/ 0 w 10000"/>
                <a:gd name="connsiteY3" fmla="*/ 4364 h 10656"/>
                <a:gd name="connsiteX4" fmla="*/ 1718 w 10000"/>
                <a:gd name="connsiteY4" fmla="*/ 7364 h 10656"/>
                <a:gd name="connsiteX5" fmla="*/ 2028 w 10000"/>
                <a:gd name="connsiteY5" fmla="*/ 9073 h 10656"/>
                <a:gd name="connsiteX6" fmla="*/ 3437 w 10000"/>
                <a:gd name="connsiteY6" fmla="*/ 10656 h 10656"/>
                <a:gd name="connsiteX7" fmla="*/ 4845 w 10000"/>
                <a:gd name="connsiteY7" fmla="*/ 10656 h 10656"/>
                <a:gd name="connsiteX8" fmla="*/ 6563 w 10000"/>
                <a:gd name="connsiteY8" fmla="*/ 10656 h 10656"/>
                <a:gd name="connsiteX9" fmla="*/ 8225 w 10000"/>
                <a:gd name="connsiteY9" fmla="*/ 10656 h 10656"/>
                <a:gd name="connsiteX10" fmla="*/ 8225 w 10000"/>
                <a:gd name="connsiteY10" fmla="*/ 7531 h 10656"/>
                <a:gd name="connsiteX11" fmla="*/ 8254 w 10000"/>
                <a:gd name="connsiteY11" fmla="*/ 7364 h 10656"/>
                <a:gd name="connsiteX12" fmla="*/ 10000 w 10000"/>
                <a:gd name="connsiteY12" fmla="*/ 4364 h 10656"/>
                <a:gd name="connsiteX13" fmla="*/ 10000 w 10000"/>
                <a:gd name="connsiteY13" fmla="*/ 2489 h 10656"/>
                <a:gd name="connsiteX14" fmla="*/ 8761 w 10000"/>
                <a:gd name="connsiteY14" fmla="*/ 656 h 10656"/>
                <a:gd name="connsiteX0" fmla="*/ 8761 w 10000"/>
                <a:gd name="connsiteY0" fmla="*/ 973 h 10973"/>
                <a:gd name="connsiteX1" fmla="*/ 1211 w 10000"/>
                <a:gd name="connsiteY1" fmla="*/ 973 h 10973"/>
                <a:gd name="connsiteX2" fmla="*/ 0 w 10000"/>
                <a:gd name="connsiteY2" fmla="*/ 2806 h 10973"/>
                <a:gd name="connsiteX3" fmla="*/ 0 w 10000"/>
                <a:gd name="connsiteY3" fmla="*/ 4681 h 10973"/>
                <a:gd name="connsiteX4" fmla="*/ 1718 w 10000"/>
                <a:gd name="connsiteY4" fmla="*/ 7681 h 10973"/>
                <a:gd name="connsiteX5" fmla="*/ 2028 w 10000"/>
                <a:gd name="connsiteY5" fmla="*/ 9390 h 10973"/>
                <a:gd name="connsiteX6" fmla="*/ 3437 w 10000"/>
                <a:gd name="connsiteY6" fmla="*/ 10973 h 10973"/>
                <a:gd name="connsiteX7" fmla="*/ 4845 w 10000"/>
                <a:gd name="connsiteY7" fmla="*/ 10973 h 10973"/>
                <a:gd name="connsiteX8" fmla="*/ 6563 w 10000"/>
                <a:gd name="connsiteY8" fmla="*/ 10973 h 10973"/>
                <a:gd name="connsiteX9" fmla="*/ 8225 w 10000"/>
                <a:gd name="connsiteY9" fmla="*/ 10973 h 10973"/>
                <a:gd name="connsiteX10" fmla="*/ 8225 w 10000"/>
                <a:gd name="connsiteY10" fmla="*/ 7848 h 10973"/>
                <a:gd name="connsiteX11" fmla="*/ 8254 w 10000"/>
                <a:gd name="connsiteY11" fmla="*/ 7681 h 10973"/>
                <a:gd name="connsiteX12" fmla="*/ 10000 w 10000"/>
                <a:gd name="connsiteY12" fmla="*/ 4681 h 10973"/>
                <a:gd name="connsiteX13" fmla="*/ 10000 w 10000"/>
                <a:gd name="connsiteY13" fmla="*/ 2806 h 10973"/>
                <a:gd name="connsiteX14" fmla="*/ 8761 w 10000"/>
                <a:gd name="connsiteY14" fmla="*/ 973 h 10973"/>
                <a:gd name="connsiteX0" fmla="*/ 8761 w 10000"/>
                <a:gd name="connsiteY0" fmla="*/ 275 h 10275"/>
                <a:gd name="connsiteX1" fmla="*/ 1211 w 10000"/>
                <a:gd name="connsiteY1" fmla="*/ 275 h 10275"/>
                <a:gd name="connsiteX2" fmla="*/ 0 w 10000"/>
                <a:gd name="connsiteY2" fmla="*/ 2108 h 10275"/>
                <a:gd name="connsiteX3" fmla="*/ 0 w 10000"/>
                <a:gd name="connsiteY3" fmla="*/ 3983 h 10275"/>
                <a:gd name="connsiteX4" fmla="*/ 1718 w 10000"/>
                <a:gd name="connsiteY4" fmla="*/ 6983 h 10275"/>
                <a:gd name="connsiteX5" fmla="*/ 2028 w 10000"/>
                <a:gd name="connsiteY5" fmla="*/ 8692 h 10275"/>
                <a:gd name="connsiteX6" fmla="*/ 3437 w 10000"/>
                <a:gd name="connsiteY6" fmla="*/ 10275 h 10275"/>
                <a:gd name="connsiteX7" fmla="*/ 4845 w 10000"/>
                <a:gd name="connsiteY7" fmla="*/ 10275 h 10275"/>
                <a:gd name="connsiteX8" fmla="*/ 6563 w 10000"/>
                <a:gd name="connsiteY8" fmla="*/ 10275 h 10275"/>
                <a:gd name="connsiteX9" fmla="*/ 8225 w 10000"/>
                <a:gd name="connsiteY9" fmla="*/ 10275 h 10275"/>
                <a:gd name="connsiteX10" fmla="*/ 8225 w 10000"/>
                <a:gd name="connsiteY10" fmla="*/ 7150 h 10275"/>
                <a:gd name="connsiteX11" fmla="*/ 8254 w 10000"/>
                <a:gd name="connsiteY11" fmla="*/ 6983 h 10275"/>
                <a:gd name="connsiteX12" fmla="*/ 10000 w 10000"/>
                <a:gd name="connsiteY12" fmla="*/ 3983 h 10275"/>
                <a:gd name="connsiteX13" fmla="*/ 10000 w 10000"/>
                <a:gd name="connsiteY13" fmla="*/ 2108 h 10275"/>
                <a:gd name="connsiteX14" fmla="*/ 8761 w 10000"/>
                <a:gd name="connsiteY14" fmla="*/ 275 h 10275"/>
                <a:gd name="connsiteX0" fmla="*/ 8761 w 10000"/>
                <a:gd name="connsiteY0" fmla="*/ 248 h 10248"/>
                <a:gd name="connsiteX1" fmla="*/ 1211 w 10000"/>
                <a:gd name="connsiteY1" fmla="*/ 248 h 10248"/>
                <a:gd name="connsiteX2" fmla="*/ 0 w 10000"/>
                <a:gd name="connsiteY2" fmla="*/ 2081 h 10248"/>
                <a:gd name="connsiteX3" fmla="*/ 0 w 10000"/>
                <a:gd name="connsiteY3" fmla="*/ 3956 h 10248"/>
                <a:gd name="connsiteX4" fmla="*/ 1718 w 10000"/>
                <a:gd name="connsiteY4" fmla="*/ 6956 h 10248"/>
                <a:gd name="connsiteX5" fmla="*/ 2028 w 10000"/>
                <a:gd name="connsiteY5" fmla="*/ 8665 h 10248"/>
                <a:gd name="connsiteX6" fmla="*/ 3437 w 10000"/>
                <a:gd name="connsiteY6" fmla="*/ 10248 h 10248"/>
                <a:gd name="connsiteX7" fmla="*/ 4845 w 10000"/>
                <a:gd name="connsiteY7" fmla="*/ 10248 h 10248"/>
                <a:gd name="connsiteX8" fmla="*/ 6563 w 10000"/>
                <a:gd name="connsiteY8" fmla="*/ 10248 h 10248"/>
                <a:gd name="connsiteX9" fmla="*/ 8225 w 10000"/>
                <a:gd name="connsiteY9" fmla="*/ 10248 h 10248"/>
                <a:gd name="connsiteX10" fmla="*/ 8225 w 10000"/>
                <a:gd name="connsiteY10" fmla="*/ 7123 h 10248"/>
                <a:gd name="connsiteX11" fmla="*/ 8254 w 10000"/>
                <a:gd name="connsiteY11" fmla="*/ 6956 h 10248"/>
                <a:gd name="connsiteX12" fmla="*/ 10000 w 10000"/>
                <a:gd name="connsiteY12" fmla="*/ 3956 h 10248"/>
                <a:gd name="connsiteX13" fmla="*/ 10000 w 10000"/>
                <a:gd name="connsiteY13" fmla="*/ 2081 h 10248"/>
                <a:gd name="connsiteX14" fmla="*/ 8761 w 10000"/>
                <a:gd name="connsiteY14" fmla="*/ 248 h 10248"/>
                <a:gd name="connsiteX0" fmla="*/ 8761 w 10000"/>
                <a:gd name="connsiteY0" fmla="*/ 295 h 10295"/>
                <a:gd name="connsiteX1" fmla="*/ 1211 w 10000"/>
                <a:gd name="connsiteY1" fmla="*/ 295 h 10295"/>
                <a:gd name="connsiteX2" fmla="*/ 0 w 10000"/>
                <a:gd name="connsiteY2" fmla="*/ 2128 h 10295"/>
                <a:gd name="connsiteX3" fmla="*/ 0 w 10000"/>
                <a:gd name="connsiteY3" fmla="*/ 4003 h 10295"/>
                <a:gd name="connsiteX4" fmla="*/ 1718 w 10000"/>
                <a:gd name="connsiteY4" fmla="*/ 7003 h 10295"/>
                <a:gd name="connsiteX5" fmla="*/ 2028 w 10000"/>
                <a:gd name="connsiteY5" fmla="*/ 8712 h 10295"/>
                <a:gd name="connsiteX6" fmla="*/ 3437 w 10000"/>
                <a:gd name="connsiteY6" fmla="*/ 10295 h 10295"/>
                <a:gd name="connsiteX7" fmla="*/ 4845 w 10000"/>
                <a:gd name="connsiteY7" fmla="*/ 10295 h 10295"/>
                <a:gd name="connsiteX8" fmla="*/ 6563 w 10000"/>
                <a:gd name="connsiteY8" fmla="*/ 10295 h 10295"/>
                <a:gd name="connsiteX9" fmla="*/ 8225 w 10000"/>
                <a:gd name="connsiteY9" fmla="*/ 10295 h 10295"/>
                <a:gd name="connsiteX10" fmla="*/ 8225 w 10000"/>
                <a:gd name="connsiteY10" fmla="*/ 7170 h 10295"/>
                <a:gd name="connsiteX11" fmla="*/ 8254 w 10000"/>
                <a:gd name="connsiteY11" fmla="*/ 7003 h 10295"/>
                <a:gd name="connsiteX12" fmla="*/ 10000 w 10000"/>
                <a:gd name="connsiteY12" fmla="*/ 4003 h 10295"/>
                <a:gd name="connsiteX13" fmla="*/ 10000 w 10000"/>
                <a:gd name="connsiteY13" fmla="*/ 2128 h 10295"/>
                <a:gd name="connsiteX14" fmla="*/ 8761 w 10000"/>
                <a:gd name="connsiteY14" fmla="*/ 295 h 10295"/>
                <a:gd name="connsiteX0" fmla="*/ 8761 w 10000"/>
                <a:gd name="connsiteY0" fmla="*/ 354 h 10354"/>
                <a:gd name="connsiteX1" fmla="*/ 1211 w 10000"/>
                <a:gd name="connsiteY1" fmla="*/ 354 h 10354"/>
                <a:gd name="connsiteX2" fmla="*/ 0 w 10000"/>
                <a:gd name="connsiteY2" fmla="*/ 2187 h 10354"/>
                <a:gd name="connsiteX3" fmla="*/ 0 w 10000"/>
                <a:gd name="connsiteY3" fmla="*/ 4062 h 10354"/>
                <a:gd name="connsiteX4" fmla="*/ 1718 w 10000"/>
                <a:gd name="connsiteY4" fmla="*/ 7062 h 10354"/>
                <a:gd name="connsiteX5" fmla="*/ 2028 w 10000"/>
                <a:gd name="connsiteY5" fmla="*/ 8771 h 10354"/>
                <a:gd name="connsiteX6" fmla="*/ 3437 w 10000"/>
                <a:gd name="connsiteY6" fmla="*/ 10354 h 10354"/>
                <a:gd name="connsiteX7" fmla="*/ 4845 w 10000"/>
                <a:gd name="connsiteY7" fmla="*/ 10354 h 10354"/>
                <a:gd name="connsiteX8" fmla="*/ 6563 w 10000"/>
                <a:gd name="connsiteY8" fmla="*/ 10354 h 10354"/>
                <a:gd name="connsiteX9" fmla="*/ 8225 w 10000"/>
                <a:gd name="connsiteY9" fmla="*/ 10354 h 10354"/>
                <a:gd name="connsiteX10" fmla="*/ 8225 w 10000"/>
                <a:gd name="connsiteY10" fmla="*/ 7229 h 10354"/>
                <a:gd name="connsiteX11" fmla="*/ 8254 w 10000"/>
                <a:gd name="connsiteY11" fmla="*/ 7062 h 10354"/>
                <a:gd name="connsiteX12" fmla="*/ 10000 w 10000"/>
                <a:gd name="connsiteY12" fmla="*/ 4062 h 10354"/>
                <a:gd name="connsiteX13" fmla="*/ 10000 w 10000"/>
                <a:gd name="connsiteY13" fmla="*/ 2187 h 10354"/>
                <a:gd name="connsiteX14" fmla="*/ 8761 w 10000"/>
                <a:gd name="connsiteY14" fmla="*/ 354 h 10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354">
                  <a:moveTo>
                    <a:pt x="8761" y="354"/>
                  </a:moveTo>
                  <a:cubicBezTo>
                    <a:pt x="6114" y="1160"/>
                    <a:pt x="3561" y="-753"/>
                    <a:pt x="1211" y="354"/>
                  </a:cubicBezTo>
                  <a:cubicBezTo>
                    <a:pt x="535" y="354"/>
                    <a:pt x="0" y="1146"/>
                    <a:pt x="0" y="2187"/>
                  </a:cubicBezTo>
                  <a:lnTo>
                    <a:pt x="0" y="4062"/>
                  </a:lnTo>
                  <a:cubicBezTo>
                    <a:pt x="0" y="5604"/>
                    <a:pt x="732" y="6812"/>
                    <a:pt x="1718" y="7062"/>
                  </a:cubicBezTo>
                  <a:cubicBezTo>
                    <a:pt x="1821" y="7632"/>
                    <a:pt x="1925" y="8201"/>
                    <a:pt x="2028" y="8771"/>
                  </a:cubicBezTo>
                  <a:cubicBezTo>
                    <a:pt x="2197" y="9729"/>
                    <a:pt x="2761" y="10354"/>
                    <a:pt x="3437" y="10354"/>
                  </a:cubicBezTo>
                  <a:lnTo>
                    <a:pt x="4845" y="10354"/>
                  </a:lnTo>
                  <a:lnTo>
                    <a:pt x="6563" y="10354"/>
                  </a:lnTo>
                  <a:lnTo>
                    <a:pt x="8225" y="10354"/>
                  </a:lnTo>
                  <a:lnTo>
                    <a:pt x="8225" y="7229"/>
                  </a:lnTo>
                  <a:cubicBezTo>
                    <a:pt x="8235" y="7173"/>
                    <a:pt x="8244" y="7118"/>
                    <a:pt x="8254" y="7062"/>
                  </a:cubicBezTo>
                  <a:cubicBezTo>
                    <a:pt x="9239" y="6854"/>
                    <a:pt x="10000" y="5604"/>
                    <a:pt x="10000" y="4062"/>
                  </a:cubicBezTo>
                  <a:lnTo>
                    <a:pt x="10000" y="2187"/>
                  </a:lnTo>
                  <a:cubicBezTo>
                    <a:pt x="10000" y="1187"/>
                    <a:pt x="9380" y="1270"/>
                    <a:pt x="8761" y="3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Rectangle 47"/>
          <p:cNvSpPr/>
          <p:nvPr/>
        </p:nvSpPr>
        <p:spPr>
          <a:xfrm>
            <a:off x="1232260" y="1221830"/>
            <a:ext cx="10502900" cy="600164"/>
          </a:xfrm>
          <a:prstGeom prst="rect">
            <a:avLst/>
          </a:prstGeom>
        </p:spPr>
        <p:txBody>
          <a:bodyPr wrap="square">
            <a:spAutoFit/>
          </a:bodyPr>
          <a:lstStyle/>
          <a:p>
            <a:r>
              <a:rPr lang="en-US" sz="1100" dirty="0">
                <a:solidFill>
                  <a:schemeClr val="bg1"/>
                </a:solidFill>
              </a:rPr>
              <a:t>5+ years of industry experience and recognized as leader in the technical and solution architecture domain, with a demonstrated capability of building enterprise scale transformation and digital solutions. Hands on experience in design and development of API, Microservices, UI, ESB &amp; Middleware,  Cloud and Cloud Native Applications, Business Process Management, Enterprise Content Management, Document Management.</a:t>
            </a:r>
          </a:p>
        </p:txBody>
      </p:sp>
      <p:sp>
        <p:nvSpPr>
          <p:cNvPr id="51" name="Rectangle 50"/>
          <p:cNvSpPr/>
          <p:nvPr/>
        </p:nvSpPr>
        <p:spPr>
          <a:xfrm>
            <a:off x="309457" y="3065478"/>
            <a:ext cx="4318000" cy="2400657"/>
          </a:xfrm>
          <a:prstGeom prst="rect">
            <a:avLst/>
          </a:prstGeom>
        </p:spPr>
        <p:txBody>
          <a:bodyPr wrap="square">
            <a:spAutoFit/>
          </a:bodyPr>
          <a:lstStyle/>
          <a:p>
            <a:pPr marL="171450" lvl="1" indent="-171450">
              <a:buClr>
                <a:schemeClr val="tx2"/>
              </a:buClr>
              <a:buFont typeface="Wingdings" panose="05000000000000000000" pitchFamily="2" charset="2"/>
              <a:buChar char="§"/>
            </a:pPr>
            <a:r>
              <a:rPr lang="en-US" sz="1000" dirty="0"/>
              <a:t>OS &amp; Environments: Windows, Mac, Red Hat, Ubuntu, Docker, Kubernetes etc.</a:t>
            </a:r>
          </a:p>
          <a:p>
            <a:pPr marL="171450" lvl="1" indent="-171450">
              <a:buClr>
                <a:schemeClr val="tx2"/>
              </a:buClr>
              <a:buFont typeface="Wingdings" panose="05000000000000000000" pitchFamily="2" charset="2"/>
              <a:buChar char="§"/>
            </a:pPr>
            <a:r>
              <a:rPr lang="en-US" sz="1000" dirty="0"/>
              <a:t>Cloud Technologies: AWS </a:t>
            </a:r>
          </a:p>
          <a:p>
            <a:pPr marL="171450" lvl="1" indent="-171450">
              <a:buClr>
                <a:schemeClr val="tx2"/>
              </a:buClr>
              <a:buFont typeface="Wingdings" panose="05000000000000000000" pitchFamily="2" charset="2"/>
              <a:buChar char="§"/>
            </a:pPr>
            <a:r>
              <a:rPr lang="en-US" sz="1000" dirty="0"/>
              <a:t>Database: Oracle, MySQL, PostgreSQL</a:t>
            </a:r>
          </a:p>
          <a:p>
            <a:pPr marL="171450" lvl="1" indent="-171450">
              <a:buClr>
                <a:schemeClr val="tx2"/>
              </a:buClr>
              <a:buFont typeface="Wingdings" panose="05000000000000000000" pitchFamily="2" charset="2"/>
              <a:buChar char="§"/>
            </a:pPr>
            <a:r>
              <a:rPr lang="en-US" sz="1000" dirty="0"/>
              <a:t>Web Servers: Tomcat, JBoss</a:t>
            </a:r>
          </a:p>
          <a:p>
            <a:pPr marL="171450" lvl="1" indent="-171450">
              <a:buClr>
                <a:schemeClr val="tx2"/>
              </a:buClr>
              <a:buFont typeface="Wingdings" panose="05000000000000000000" pitchFamily="2" charset="2"/>
              <a:buChar char="§"/>
            </a:pPr>
            <a:r>
              <a:rPr lang="en-US" sz="1000" dirty="0"/>
              <a:t>IDE: Eclipse, Spring Tools Suite, IntelliJ</a:t>
            </a:r>
          </a:p>
          <a:p>
            <a:pPr marL="171450" lvl="1" indent="-171450">
              <a:buClr>
                <a:schemeClr val="tx2"/>
              </a:buClr>
              <a:buFont typeface="Wingdings" panose="05000000000000000000" pitchFamily="2" charset="2"/>
              <a:buChar char="§"/>
            </a:pPr>
            <a:r>
              <a:rPr lang="en-US" sz="1000" dirty="0"/>
              <a:t>Version Control: git, Git Hub, Bit Bucket, Tortoise SVN</a:t>
            </a:r>
          </a:p>
          <a:p>
            <a:pPr marL="171450" lvl="1" indent="-171450">
              <a:buClr>
                <a:schemeClr val="tx2"/>
              </a:buClr>
              <a:buFont typeface="Wingdings" panose="05000000000000000000" pitchFamily="2" charset="2"/>
              <a:buChar char="§"/>
            </a:pPr>
            <a:r>
              <a:rPr lang="en-US" sz="1000" dirty="0"/>
              <a:t>Monitoring tools: Jira</a:t>
            </a:r>
          </a:p>
          <a:p>
            <a:pPr marL="171450" lvl="1" indent="-171450">
              <a:buClr>
                <a:schemeClr val="tx2"/>
              </a:buClr>
              <a:buFont typeface="Wingdings" panose="05000000000000000000" pitchFamily="2" charset="2"/>
              <a:buChar char="§"/>
            </a:pPr>
            <a:r>
              <a:rPr lang="en-US" sz="1000" dirty="0"/>
              <a:t>Languages: Java, SQL, JavaScript, HTML, CSS, JSON, AngularJS</a:t>
            </a:r>
          </a:p>
          <a:p>
            <a:pPr marL="171450" lvl="1" indent="-171450">
              <a:buClr>
                <a:schemeClr val="tx2"/>
              </a:buClr>
              <a:buFont typeface="Wingdings" panose="05000000000000000000" pitchFamily="2" charset="2"/>
              <a:buChar char="§"/>
            </a:pPr>
            <a:r>
              <a:rPr lang="en-US" sz="1000" dirty="0"/>
              <a:t>Frameworks: Spring-Core, Spring-JDBC, Spring-AOP, Spring-Transactions, Spring-MVC, Spring Security, Hibernate with JPA . </a:t>
            </a:r>
          </a:p>
          <a:p>
            <a:pPr marL="171450" lvl="1" indent="-171450">
              <a:buClr>
                <a:schemeClr val="tx2"/>
              </a:buClr>
              <a:buFont typeface="Wingdings" panose="05000000000000000000" pitchFamily="2" charset="2"/>
              <a:buChar char="§"/>
            </a:pPr>
            <a:r>
              <a:rPr lang="en-US" sz="1000" dirty="0"/>
              <a:t>Build Tools: Maven, Gradle</a:t>
            </a:r>
          </a:p>
          <a:p>
            <a:pPr marL="171450" lvl="1" indent="-171450">
              <a:buClr>
                <a:schemeClr val="tx2"/>
              </a:buClr>
              <a:buFont typeface="Wingdings" panose="05000000000000000000" pitchFamily="2" charset="2"/>
              <a:buChar char="§"/>
            </a:pPr>
            <a:r>
              <a:rPr lang="en-US" sz="1000" dirty="0"/>
              <a:t>CICD: Jenkins</a:t>
            </a:r>
          </a:p>
        </p:txBody>
      </p:sp>
      <p:sp>
        <p:nvSpPr>
          <p:cNvPr id="52" name="Rectangle 51"/>
          <p:cNvSpPr/>
          <p:nvPr/>
        </p:nvSpPr>
        <p:spPr>
          <a:xfrm>
            <a:off x="4773214" y="3065478"/>
            <a:ext cx="7264400" cy="2862322"/>
          </a:xfrm>
          <a:prstGeom prst="rect">
            <a:avLst/>
          </a:prstGeom>
        </p:spPr>
        <p:txBody>
          <a:bodyPr wrap="square">
            <a:spAutoFit/>
          </a:bodyPr>
          <a:lstStyle/>
          <a:p>
            <a:pPr marL="171450" lvl="0" indent="-171450">
              <a:buClr>
                <a:schemeClr val="tx2"/>
              </a:buClr>
              <a:buFont typeface="Wingdings" panose="05000000000000000000" pitchFamily="2" charset="2"/>
              <a:buChar char="§"/>
            </a:pPr>
            <a:r>
              <a:rPr lang="en-US" sz="1000" dirty="0"/>
              <a:t>Implemented RESTful Web services to expose and process data.</a:t>
            </a:r>
          </a:p>
          <a:p>
            <a:pPr marL="171450" lvl="0" indent="-171450">
              <a:buClr>
                <a:schemeClr val="tx2"/>
              </a:buClr>
              <a:buFont typeface="Wingdings" panose="05000000000000000000" pitchFamily="2" charset="2"/>
              <a:buChar char="§"/>
            </a:pPr>
            <a:r>
              <a:rPr lang="en-US" sz="1000" dirty="0"/>
              <a:t>Architecting technology platform like the core application, middleware, reporting, databases, third party applications, third party portals, inbound and outbound integrations.</a:t>
            </a:r>
          </a:p>
          <a:p>
            <a:pPr marL="171450" lvl="0" indent="-171450">
              <a:buClr>
                <a:schemeClr val="tx2"/>
              </a:buClr>
              <a:buFont typeface="Wingdings" panose="05000000000000000000" pitchFamily="2" charset="2"/>
              <a:buChar char="§"/>
            </a:pPr>
            <a:r>
              <a:rPr lang="en-US" sz="1000" dirty="0"/>
              <a:t>Involved in designing view pages using Spring MVC.</a:t>
            </a:r>
          </a:p>
          <a:p>
            <a:pPr marL="171450" lvl="0" indent="-171450">
              <a:buClr>
                <a:schemeClr val="tx2"/>
              </a:buClr>
              <a:buFont typeface="Wingdings" panose="05000000000000000000" pitchFamily="2" charset="2"/>
              <a:buChar char="§"/>
            </a:pPr>
            <a:r>
              <a:rPr lang="en-US" sz="1000" dirty="0"/>
              <a:t>Involved in coding DAO classes and mapping files using Hibernate.</a:t>
            </a:r>
          </a:p>
          <a:p>
            <a:pPr marL="171450" lvl="0" indent="-171450">
              <a:buClr>
                <a:schemeClr val="tx2"/>
              </a:buClr>
              <a:buFont typeface="Wingdings" panose="05000000000000000000" pitchFamily="2" charset="2"/>
              <a:buChar char="§"/>
            </a:pPr>
            <a:r>
              <a:rPr lang="en-US" sz="1000" dirty="0"/>
              <a:t>Also involved in coding of all Logging Activities using Log4J Framework.</a:t>
            </a:r>
          </a:p>
          <a:p>
            <a:pPr marL="171450" lvl="0" indent="-171450">
              <a:buClr>
                <a:schemeClr val="tx2"/>
              </a:buClr>
              <a:buFont typeface="Wingdings" panose="05000000000000000000" pitchFamily="2" charset="2"/>
              <a:buChar char="§"/>
            </a:pPr>
            <a:r>
              <a:rPr lang="en-US" sz="1000" dirty="0"/>
              <a:t>Implemented REST (JAX-RS) based web services enterprise application development.</a:t>
            </a:r>
          </a:p>
          <a:p>
            <a:pPr marL="171450" lvl="0" indent="-171450">
              <a:buClr>
                <a:schemeClr val="tx2"/>
              </a:buClr>
              <a:buFont typeface="Wingdings" panose="05000000000000000000" pitchFamily="2" charset="2"/>
              <a:buChar char="§"/>
            </a:pPr>
            <a:r>
              <a:rPr lang="en-US" sz="1000" dirty="0"/>
              <a:t>Implemented both Configuration and annotation-based Spring MVC in developing web-based applications.</a:t>
            </a:r>
          </a:p>
          <a:p>
            <a:pPr marL="171450" lvl="0" indent="-171450">
              <a:buClr>
                <a:schemeClr val="tx2"/>
              </a:buClr>
              <a:buFont typeface="Wingdings" panose="05000000000000000000" pitchFamily="2" charset="2"/>
              <a:buChar char="§"/>
            </a:pPr>
            <a:r>
              <a:rPr lang="en-US" sz="1000" dirty="0"/>
              <a:t>Worked on Spring security.</a:t>
            </a:r>
          </a:p>
          <a:p>
            <a:pPr marL="171450" lvl="0" indent="-171450">
              <a:buClr>
                <a:schemeClr val="tx2"/>
              </a:buClr>
              <a:buFont typeface="Wingdings" panose="05000000000000000000" pitchFamily="2" charset="2"/>
              <a:buChar char="§"/>
            </a:pPr>
            <a:r>
              <a:rPr lang="en-US" sz="1000" dirty="0"/>
              <a:t>Experience with security compliance programs such as ISO, PCI, SOC 1 2.</a:t>
            </a:r>
          </a:p>
          <a:p>
            <a:pPr marL="171450" lvl="0" indent="-171450">
              <a:buClr>
                <a:schemeClr val="tx2"/>
              </a:buClr>
              <a:buFont typeface="Wingdings" panose="05000000000000000000" pitchFamily="2" charset="2"/>
              <a:buChar char="§"/>
            </a:pPr>
            <a:r>
              <a:rPr lang="en-US" sz="1000" dirty="0"/>
              <a:t>Experience with Hashing (</a:t>
            </a:r>
            <a:r>
              <a:rPr lang="en-US" sz="1000" dirty="0" err="1"/>
              <a:t>bycrpt</a:t>
            </a:r>
            <a:r>
              <a:rPr lang="en-US" sz="1000" dirty="0"/>
              <a:t>, sha1 etc.) and encryption (AES 256 etc.).</a:t>
            </a:r>
          </a:p>
          <a:p>
            <a:pPr marL="171450" lvl="0" indent="-171450">
              <a:buClr>
                <a:schemeClr val="tx2"/>
              </a:buClr>
              <a:buFont typeface="Wingdings" panose="05000000000000000000" pitchFamily="2" charset="2"/>
              <a:buChar char="§"/>
            </a:pPr>
            <a:r>
              <a:rPr lang="en-US" sz="1000" dirty="0"/>
              <a:t>Experience working with an Identity Access Management system.</a:t>
            </a:r>
          </a:p>
          <a:p>
            <a:pPr marL="171450" lvl="0" indent="-171450">
              <a:buClr>
                <a:schemeClr val="tx2"/>
              </a:buClr>
              <a:buFont typeface="Wingdings" panose="05000000000000000000" pitchFamily="2" charset="2"/>
              <a:buChar char="§"/>
            </a:pPr>
            <a:r>
              <a:rPr lang="en-US" sz="1000" dirty="0"/>
              <a:t>Deep understanding of OAuth.</a:t>
            </a:r>
          </a:p>
          <a:p>
            <a:pPr marL="171450" lvl="0" indent="-171450">
              <a:buClr>
                <a:schemeClr val="tx2"/>
              </a:buClr>
              <a:buFont typeface="Wingdings" panose="05000000000000000000" pitchFamily="2" charset="2"/>
              <a:buChar char="§"/>
            </a:pPr>
            <a:r>
              <a:rPr lang="en-US" sz="1000" dirty="0"/>
              <a:t>Utilize cloud-based APIs when appropriate to write network/system level tools for securing cloud environments.</a:t>
            </a:r>
          </a:p>
          <a:p>
            <a:pPr marL="171450" lvl="0" indent="-171450">
              <a:buClr>
                <a:schemeClr val="tx2"/>
              </a:buClr>
              <a:buFont typeface="Wingdings" panose="05000000000000000000" pitchFamily="2" charset="2"/>
              <a:buChar char="§"/>
            </a:pPr>
            <a:r>
              <a:rPr lang="en-US" sz="1000" dirty="0"/>
              <a:t>Expertise in working with the presentation layer using HTML, JSP and JavaScript, jQuery.</a:t>
            </a:r>
          </a:p>
          <a:p>
            <a:pPr lvl="0">
              <a:buClr>
                <a:schemeClr val="tx2"/>
              </a:buClr>
            </a:pPr>
            <a:endParaRPr lang="en-US" sz="1000" dirty="0"/>
          </a:p>
          <a:p>
            <a:pPr marL="171450" lvl="0" indent="-171450">
              <a:buClr>
                <a:schemeClr val="tx2"/>
              </a:buClr>
              <a:buFont typeface="Wingdings" panose="05000000000000000000" pitchFamily="2" charset="2"/>
              <a:buChar char="§"/>
            </a:pPr>
            <a:endParaRPr lang="en-US" sz="1000" dirty="0"/>
          </a:p>
        </p:txBody>
      </p:sp>
    </p:spTree>
    <p:extLst>
      <p:ext uri="{BB962C8B-B14F-4D97-AF65-F5344CB8AC3E}">
        <p14:creationId xmlns:p14="http://schemas.microsoft.com/office/powerpoint/2010/main" val="8731387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2013 Capgemini Template">
  <a:themeElements>
    <a:clrScheme name="2017 New Brand Colors">
      <a:dk1>
        <a:srgbClr val="000000"/>
      </a:dk1>
      <a:lt1>
        <a:sysClr val="window" lastClr="FFFFFF"/>
      </a:lt1>
      <a:dk2>
        <a:srgbClr val="0070AD"/>
      </a:dk2>
      <a:lt2>
        <a:srgbClr val="EDEDED"/>
      </a:lt2>
      <a:accent1>
        <a:srgbClr val="80B8D6"/>
      </a:accent1>
      <a:accent2>
        <a:srgbClr val="12ABDB"/>
      </a:accent2>
      <a:accent3>
        <a:srgbClr val="2B143D"/>
      </a:accent3>
      <a:accent4>
        <a:srgbClr val="FF304C"/>
      </a:accent4>
      <a:accent5>
        <a:srgbClr val="8EC63E"/>
      </a:accent5>
      <a:accent6>
        <a:srgbClr val="0F999C"/>
      </a:accent6>
      <a:hlink>
        <a:srgbClr val="005481"/>
      </a:hlink>
      <a:folHlink>
        <a:srgbClr val="861763"/>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5e993ba-6ce6-4cb9-b9c8-9d393e172274" xsi:nil="true"/>
    <lcf76f155ced4ddcb4097134ff3c332f xmlns="19cf9f97-9a6c-4c9f-aed8-19c86ca80c9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C4EB0670ADABA49BCBD8413A8D0CC54" ma:contentTypeVersion="16" ma:contentTypeDescription="Create a new document." ma:contentTypeScope="" ma:versionID="0abe1db839e32c33666436b62b744240">
  <xsd:schema xmlns:xsd="http://www.w3.org/2001/XMLSchema" xmlns:xs="http://www.w3.org/2001/XMLSchema" xmlns:p="http://schemas.microsoft.com/office/2006/metadata/properties" xmlns:ns2="19cf9f97-9a6c-4c9f-aed8-19c86ca80c95" xmlns:ns3="55e993ba-6ce6-4cb9-b9c8-9d393e172274" targetNamespace="http://schemas.microsoft.com/office/2006/metadata/properties" ma:root="true" ma:fieldsID="b5845d94ed9cf9c374a5f4ac443964ce" ns2:_="" ns3:_="">
    <xsd:import namespace="19cf9f97-9a6c-4c9f-aed8-19c86ca80c95"/>
    <xsd:import namespace="55e993ba-6ce6-4cb9-b9c8-9d393e172274"/>
    <xsd:element name="properties">
      <xsd:complexType>
        <xsd:sequence>
          <xsd:element name="documentManagement">
            <xsd:complexType>
              <xsd:all>
                <xsd:element ref="ns2:MediaServiceMetadata" minOccurs="0"/>
                <xsd:element ref="ns2:MediaServiceFastMetadata" minOccurs="0"/>
                <xsd:element ref="ns2:MediaServiceAutoTags" minOccurs="0"/>
                <xsd:element ref="ns3:SharedWithUsers" minOccurs="0"/>
                <xsd:element ref="ns3:SharedWithDetails" minOccurs="0"/>
                <xsd:element ref="ns2:MediaServiceDateTaken" minOccurs="0"/>
                <xsd:element ref="ns2:MediaServiceOCR" minOccurs="0"/>
                <xsd:element ref="ns2:MediaServiceLocation" minOccurs="0"/>
                <xsd:element ref="ns2:MediaServiceEventHashCode" minOccurs="0"/>
                <xsd:element ref="ns2:MediaServiceGenerationTim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cf9f97-9a6c-4c9f-aed8-19c86ca80c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5e993ba-6ce6-4cb9-b9c8-9d393e17227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2a1220f-bb5a-40fa-a333-54cb7a8ae8ba}" ma:internalName="TaxCatchAll" ma:showField="CatchAllData" ma:web="55e993ba-6ce6-4cb9-b9c8-9d393e17227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28ED2F-ABE9-4CC9-9AB8-9657000A1229}">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19cf9f97-9a6c-4c9f-aed8-19c86ca80c95"/>
    <ds:schemaRef ds:uri="55e993ba-6ce6-4cb9-b9c8-9d393e172274"/>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00209B0E-EBC9-4ACF-B4EA-4333F44AABC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cf9f97-9a6c-4c9f-aed8-19c86ca80c95"/>
    <ds:schemaRef ds:uri="55e993ba-6ce6-4cb9-b9c8-9d393e17227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1A4ED86-E5A7-4AB0-B290-F91F34A3DBC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13 Capgemini Template</Template>
  <TotalTime>15629</TotalTime>
  <Words>354</Words>
  <Application>Microsoft Office PowerPoint</Application>
  <PresentationFormat>Widescreen</PresentationFormat>
  <Paragraphs>30</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Courier New</vt:lpstr>
      <vt:lpstr>Verdana</vt:lpstr>
      <vt:lpstr>Wingdings</vt:lpstr>
      <vt:lpstr>2013 Capgemini Template</vt:lpstr>
      <vt:lpstr>think-cell Slide</vt:lpstr>
      <vt:lpstr>Senior Developer Java</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portation Innovations:  Advancing Customer Delivery Performance and Carrier Integration</dc:title>
  <dc:creator>David Williams</dc:creator>
  <cp:lastModifiedBy>Dharmeshbhai Vyas, Monali</cp:lastModifiedBy>
  <cp:revision>245</cp:revision>
  <dcterms:created xsi:type="dcterms:W3CDTF">2013-01-23T20:29:14Z</dcterms:created>
  <dcterms:modified xsi:type="dcterms:W3CDTF">2022-09-30T13:5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4EB0670ADABA49BCBD8413A8D0CC54</vt:lpwstr>
  </property>
</Properties>
</file>